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customXml/itemProps56.xml" ContentType="application/vnd.openxmlformats-officedocument.customXmlProperties+xml"/>
  <Override PartName="/customXml/itemProps57.xml" ContentType="application/vnd.openxmlformats-officedocument.customXmlProperties+xml"/>
  <Override PartName="/customXml/itemProps58.xml" ContentType="application/vnd.openxmlformats-officedocument.customXmlProperties+xml"/>
  <Override PartName="/customXml/itemProps59.xml" ContentType="application/vnd.openxmlformats-officedocument.customXmlProperties+xml"/>
  <Override PartName="/customXml/itemProps60.xml" ContentType="application/vnd.openxmlformats-officedocument.customXmlProperties+xml"/>
  <Override PartName="/customXml/itemProps61.xml" ContentType="application/vnd.openxmlformats-officedocument.customXmlProperties+xml"/>
  <Override PartName="/customXml/itemProps62.xml" ContentType="application/vnd.openxmlformats-officedocument.customXmlPropertie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customXml/itemProps67.xml" ContentType="application/vnd.openxmlformats-officedocument.customXmlProperties+xml"/>
  <Override PartName="/customXml/itemProps68.xml" ContentType="application/vnd.openxmlformats-officedocument.customXmlProperties+xml"/>
  <Override PartName="/customXml/itemProps69.xml" ContentType="application/vnd.openxmlformats-officedocument.customXmlProperties+xml"/>
  <Override PartName="/customXml/itemProps70.xml" ContentType="application/vnd.openxmlformats-officedocument.customXmlProperties+xml"/>
  <Override PartName="/customXml/itemProps71.xml" ContentType="application/vnd.openxmlformats-officedocument.customXmlProperties+xml"/>
  <Override PartName="/customXml/itemProps72.xml" ContentType="application/vnd.openxmlformats-officedocument.customXmlProperties+xml"/>
  <Override PartName="/customXml/itemProps73.xml" ContentType="application/vnd.openxmlformats-officedocument.customXmlProperties+xml"/>
  <Override PartName="/customXml/itemProps74.xml" ContentType="application/vnd.openxmlformats-officedocument.customXmlProperties+xml"/>
  <Override PartName="/customXml/itemProps75.xml" ContentType="application/vnd.openxmlformats-officedocument.customXmlProperties+xml"/>
  <Override PartName="/customXml/itemProps76.xml" ContentType="application/vnd.openxmlformats-officedocument.customXmlProperties+xml"/>
  <Override PartName="/customXml/itemProps77.xml" ContentType="application/vnd.openxmlformats-officedocument.customXmlProperties+xml"/>
  <Override PartName="/customXml/itemProps78.xml" ContentType="application/vnd.openxmlformats-officedocument.customXmlProperties+xml"/>
  <Override PartName="/customXml/itemProps79.xml" ContentType="application/vnd.openxmlformats-officedocument.customXmlProperties+xml"/>
  <Override PartName="/customXml/itemProps80.xml" ContentType="application/vnd.openxmlformats-officedocument.customXmlProperties+xml"/>
  <Override PartName="/customXml/itemProps81.xml" ContentType="application/vnd.openxmlformats-officedocument.customXmlProperties+xml"/>
  <Override PartName="/customXml/itemProps82.xml" ContentType="application/vnd.openxmlformats-officedocument.customXmlProperties+xml"/>
  <Override PartName="/customXml/itemProps83.xml" ContentType="application/vnd.openxmlformats-officedocument.customXmlProperties+xml"/>
  <Override PartName="/customXml/itemProps84.xml" ContentType="application/vnd.openxmlformats-officedocument.customXmlProperties+xml"/>
  <Override PartName="/customXml/itemProps85.xml" ContentType="application/vnd.openxmlformats-officedocument.customXmlProperties+xml"/>
  <Override PartName="/customXml/itemProps86.xml" ContentType="application/vnd.openxmlformats-officedocument.customXmlProperties+xml"/>
  <Override PartName="/customXml/itemProps87.xml" ContentType="application/vnd.openxmlformats-officedocument.customXmlProperties+xml"/>
  <Override PartName="/customXml/itemProps88.xml" ContentType="application/vnd.openxmlformats-officedocument.customXmlProperties+xml"/>
  <Override PartName="/customXml/itemProps89.xml" ContentType="application/vnd.openxmlformats-officedocument.customXmlProperties+xml"/>
  <Override PartName="/customXml/itemProps90.xml" ContentType="application/vnd.openxmlformats-officedocument.customXmlProperties+xml"/>
  <Override PartName="/customXml/itemProps91.xml" ContentType="application/vnd.openxmlformats-officedocument.customXmlProperties+xml"/>
  <Override PartName="/customXml/itemProps92.xml" ContentType="application/vnd.openxmlformats-officedocument.customXmlProperties+xml"/>
  <Override PartName="/customXml/itemProps93.xml" ContentType="application/vnd.openxmlformats-officedocument.customXmlProperties+xml"/>
  <Override PartName="/customXml/itemProps94.xml" ContentType="application/vnd.openxmlformats-officedocument.customXmlProperties+xml"/>
  <Override PartName="/customXml/itemProps95.xml" ContentType="application/vnd.openxmlformats-officedocument.customXmlProperties+xml"/>
  <Override PartName="/customXml/itemProps96.xml" ContentType="application/vnd.openxmlformats-officedocument.customXmlProperties+xml"/>
  <Override PartName="/customXml/itemProps97.xml" ContentType="application/vnd.openxmlformats-officedocument.customXmlProperties+xml"/>
  <Override PartName="/customXml/itemProps98.xml" ContentType="application/vnd.openxmlformats-officedocument.customXmlProperties+xml"/>
  <Override PartName="/customXml/itemProps99.xml" ContentType="application/vnd.openxmlformats-officedocument.customXmlProperties+xml"/>
  <Override PartName="/customXml/itemProps100.xml" ContentType="application/vnd.openxmlformats-officedocument.customXmlProperties+xml"/>
  <Override PartName="/customXml/itemProps101.xml" ContentType="application/vnd.openxmlformats-officedocument.customXmlProperties+xml"/>
  <Override PartName="/customXml/itemProps10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03"/>
    <p:sldMasterId id="2147483650" r:id="rId104"/>
    <p:sldMasterId id="2147483654" r:id="rId105"/>
  </p:sldMasterIdLst>
  <p:notesMasterIdLst>
    <p:notesMasterId r:id="rId125"/>
  </p:notesMasterIdLst>
  <p:sldIdLst>
    <p:sldId id="426" r:id="rId106"/>
    <p:sldId id="703" r:id="rId107"/>
    <p:sldId id="693" r:id="rId108"/>
    <p:sldId id="692" r:id="rId109"/>
    <p:sldId id="681" r:id="rId110"/>
    <p:sldId id="691" r:id="rId111"/>
    <p:sldId id="698" r:id="rId112"/>
    <p:sldId id="702" r:id="rId113"/>
    <p:sldId id="695" r:id="rId114"/>
    <p:sldId id="696" r:id="rId115"/>
    <p:sldId id="697" r:id="rId116"/>
    <p:sldId id="699" r:id="rId117"/>
    <p:sldId id="700" r:id="rId118"/>
    <p:sldId id="704" r:id="rId119"/>
    <p:sldId id="701" r:id="rId120"/>
    <p:sldId id="705" r:id="rId121"/>
    <p:sldId id="707" r:id="rId122"/>
    <p:sldId id="706" r:id="rId123"/>
    <p:sldId id="687" r:id="rId124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00"/>
    <a:srgbClr val="003D61"/>
    <a:srgbClr val="540000"/>
    <a:srgbClr val="FFFFFF"/>
    <a:srgbClr val="920000"/>
    <a:srgbClr val="7F7F7F"/>
    <a:srgbClr val="3E0000"/>
    <a:srgbClr val="C7C7C7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265" autoAdjust="0"/>
    <p:restoredTop sz="92175" autoAdjust="0"/>
  </p:normalViewPr>
  <p:slideViewPr>
    <p:cSldViewPr>
      <p:cViewPr varScale="1">
        <p:scale>
          <a:sx n="107" d="100"/>
          <a:sy n="107" d="100"/>
        </p:scale>
        <p:origin x="1644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0" d="100"/>
          <a:sy n="70" d="100"/>
        </p:scale>
        <p:origin x="3240" y="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117" Type="http://schemas.openxmlformats.org/officeDocument/2006/relationships/slide" Target="slides/slide12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customXml" Target="../customXml/item63.xml"/><Relationship Id="rId68" Type="http://schemas.openxmlformats.org/officeDocument/2006/relationships/customXml" Target="../customXml/item68.xml"/><Relationship Id="rId84" Type="http://schemas.openxmlformats.org/officeDocument/2006/relationships/customXml" Target="../customXml/item84.xml"/><Relationship Id="rId89" Type="http://schemas.openxmlformats.org/officeDocument/2006/relationships/customXml" Target="../customXml/item89.xml"/><Relationship Id="rId112" Type="http://schemas.openxmlformats.org/officeDocument/2006/relationships/slide" Target="slides/slide7.xml"/><Relationship Id="rId16" Type="http://schemas.openxmlformats.org/officeDocument/2006/relationships/customXml" Target="../customXml/item16.xml"/><Relationship Id="rId107" Type="http://schemas.openxmlformats.org/officeDocument/2006/relationships/slide" Target="slides/slide2.xml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53" Type="http://schemas.openxmlformats.org/officeDocument/2006/relationships/customXml" Target="../customXml/item53.xml"/><Relationship Id="rId58" Type="http://schemas.openxmlformats.org/officeDocument/2006/relationships/customXml" Target="../customXml/item58.xml"/><Relationship Id="rId74" Type="http://schemas.openxmlformats.org/officeDocument/2006/relationships/customXml" Target="../customXml/item74.xml"/><Relationship Id="rId79" Type="http://schemas.openxmlformats.org/officeDocument/2006/relationships/customXml" Target="../customXml/item79.xml"/><Relationship Id="rId102" Type="http://schemas.openxmlformats.org/officeDocument/2006/relationships/customXml" Target="../customXml/item102.xml"/><Relationship Id="rId123" Type="http://schemas.openxmlformats.org/officeDocument/2006/relationships/slide" Target="slides/slide18.xml"/><Relationship Id="rId128" Type="http://schemas.openxmlformats.org/officeDocument/2006/relationships/theme" Target="theme/theme1.xml"/><Relationship Id="rId5" Type="http://schemas.openxmlformats.org/officeDocument/2006/relationships/customXml" Target="../customXml/item5.xml"/><Relationship Id="rId90" Type="http://schemas.openxmlformats.org/officeDocument/2006/relationships/customXml" Target="../customXml/item90.xml"/><Relationship Id="rId95" Type="http://schemas.openxmlformats.org/officeDocument/2006/relationships/customXml" Target="../customXml/item95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56" Type="http://schemas.openxmlformats.org/officeDocument/2006/relationships/customXml" Target="../customXml/item56.xml"/><Relationship Id="rId64" Type="http://schemas.openxmlformats.org/officeDocument/2006/relationships/customXml" Target="../customXml/item64.xml"/><Relationship Id="rId69" Type="http://schemas.openxmlformats.org/officeDocument/2006/relationships/customXml" Target="../customXml/item69.xml"/><Relationship Id="rId77" Type="http://schemas.openxmlformats.org/officeDocument/2006/relationships/customXml" Target="../customXml/item77.xml"/><Relationship Id="rId100" Type="http://schemas.openxmlformats.org/officeDocument/2006/relationships/customXml" Target="../customXml/item100.xml"/><Relationship Id="rId105" Type="http://schemas.openxmlformats.org/officeDocument/2006/relationships/slideMaster" Target="slideMasters/slideMaster3.xml"/><Relationship Id="rId113" Type="http://schemas.openxmlformats.org/officeDocument/2006/relationships/slide" Target="slides/slide8.xml"/><Relationship Id="rId118" Type="http://schemas.openxmlformats.org/officeDocument/2006/relationships/slide" Target="slides/slide13.xml"/><Relationship Id="rId126" Type="http://schemas.openxmlformats.org/officeDocument/2006/relationships/presProps" Target="presProps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customXml" Target="../customXml/item72.xml"/><Relationship Id="rId80" Type="http://schemas.openxmlformats.org/officeDocument/2006/relationships/customXml" Target="../customXml/item80.xml"/><Relationship Id="rId85" Type="http://schemas.openxmlformats.org/officeDocument/2006/relationships/customXml" Target="../customXml/item85.xml"/><Relationship Id="rId93" Type="http://schemas.openxmlformats.org/officeDocument/2006/relationships/customXml" Target="../customXml/item93.xml"/><Relationship Id="rId98" Type="http://schemas.openxmlformats.org/officeDocument/2006/relationships/customXml" Target="../customXml/item98.xml"/><Relationship Id="rId121" Type="http://schemas.openxmlformats.org/officeDocument/2006/relationships/slide" Target="slides/slide16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customXml" Target="../customXml/item59.xml"/><Relationship Id="rId67" Type="http://schemas.openxmlformats.org/officeDocument/2006/relationships/customXml" Target="../customXml/item67.xml"/><Relationship Id="rId103" Type="http://schemas.openxmlformats.org/officeDocument/2006/relationships/slideMaster" Target="slideMasters/slideMaster1.xml"/><Relationship Id="rId108" Type="http://schemas.openxmlformats.org/officeDocument/2006/relationships/slide" Target="slides/slide3.xml"/><Relationship Id="rId116" Type="http://schemas.openxmlformats.org/officeDocument/2006/relationships/slide" Target="slides/slide11.xml"/><Relationship Id="rId124" Type="http://schemas.openxmlformats.org/officeDocument/2006/relationships/slide" Target="slides/slide19.xml"/><Relationship Id="rId129" Type="http://schemas.openxmlformats.org/officeDocument/2006/relationships/tableStyles" Target="tableStyles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customXml" Target="../customXml/item54.xml"/><Relationship Id="rId62" Type="http://schemas.openxmlformats.org/officeDocument/2006/relationships/customXml" Target="../customXml/item62.xml"/><Relationship Id="rId70" Type="http://schemas.openxmlformats.org/officeDocument/2006/relationships/customXml" Target="../customXml/item70.xml"/><Relationship Id="rId75" Type="http://schemas.openxmlformats.org/officeDocument/2006/relationships/customXml" Target="../customXml/item75.xml"/><Relationship Id="rId83" Type="http://schemas.openxmlformats.org/officeDocument/2006/relationships/customXml" Target="../customXml/item83.xml"/><Relationship Id="rId88" Type="http://schemas.openxmlformats.org/officeDocument/2006/relationships/customXml" Target="../customXml/item88.xml"/><Relationship Id="rId91" Type="http://schemas.openxmlformats.org/officeDocument/2006/relationships/customXml" Target="../customXml/item91.xml"/><Relationship Id="rId96" Type="http://schemas.openxmlformats.org/officeDocument/2006/relationships/customXml" Target="../customXml/item96.xml"/><Relationship Id="rId111" Type="http://schemas.openxmlformats.org/officeDocument/2006/relationships/slide" Target="slides/slide6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customXml" Target="../customXml/item57.xml"/><Relationship Id="rId106" Type="http://schemas.openxmlformats.org/officeDocument/2006/relationships/slide" Target="slides/slide1.xml"/><Relationship Id="rId114" Type="http://schemas.openxmlformats.org/officeDocument/2006/relationships/slide" Target="slides/slide9.xml"/><Relationship Id="rId119" Type="http://schemas.openxmlformats.org/officeDocument/2006/relationships/slide" Target="slides/slide14.xml"/><Relationship Id="rId127" Type="http://schemas.openxmlformats.org/officeDocument/2006/relationships/viewProps" Target="viewProps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customXml" Target="../customXml/item52.xml"/><Relationship Id="rId60" Type="http://schemas.openxmlformats.org/officeDocument/2006/relationships/customXml" Target="../customXml/item60.xml"/><Relationship Id="rId65" Type="http://schemas.openxmlformats.org/officeDocument/2006/relationships/customXml" Target="../customXml/item65.xml"/><Relationship Id="rId73" Type="http://schemas.openxmlformats.org/officeDocument/2006/relationships/customXml" Target="../customXml/item73.xml"/><Relationship Id="rId78" Type="http://schemas.openxmlformats.org/officeDocument/2006/relationships/customXml" Target="../customXml/item78.xml"/><Relationship Id="rId81" Type="http://schemas.openxmlformats.org/officeDocument/2006/relationships/customXml" Target="../customXml/item81.xml"/><Relationship Id="rId86" Type="http://schemas.openxmlformats.org/officeDocument/2006/relationships/customXml" Target="../customXml/item86.xml"/><Relationship Id="rId94" Type="http://schemas.openxmlformats.org/officeDocument/2006/relationships/customXml" Target="../customXml/item94.xml"/><Relationship Id="rId99" Type="http://schemas.openxmlformats.org/officeDocument/2006/relationships/customXml" Target="../customXml/item99.xml"/><Relationship Id="rId101" Type="http://schemas.openxmlformats.org/officeDocument/2006/relationships/customXml" Target="../customXml/item101.xml"/><Relationship Id="rId122" Type="http://schemas.openxmlformats.org/officeDocument/2006/relationships/slide" Target="slides/slide17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109" Type="http://schemas.openxmlformats.org/officeDocument/2006/relationships/slide" Target="slides/slide4.xml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customXml" Target="../customXml/item55.xml"/><Relationship Id="rId76" Type="http://schemas.openxmlformats.org/officeDocument/2006/relationships/customXml" Target="../customXml/item76.xml"/><Relationship Id="rId97" Type="http://schemas.openxmlformats.org/officeDocument/2006/relationships/customXml" Target="../customXml/item97.xml"/><Relationship Id="rId104" Type="http://schemas.openxmlformats.org/officeDocument/2006/relationships/slideMaster" Target="slideMasters/slideMaster2.xml"/><Relationship Id="rId120" Type="http://schemas.openxmlformats.org/officeDocument/2006/relationships/slide" Target="slides/slide15.xml"/><Relationship Id="rId125" Type="http://schemas.openxmlformats.org/officeDocument/2006/relationships/notesMaster" Target="notesMasters/notesMaster1.xml"/><Relationship Id="rId7" Type="http://schemas.openxmlformats.org/officeDocument/2006/relationships/customXml" Target="../customXml/item7.xml"/><Relationship Id="rId71" Type="http://schemas.openxmlformats.org/officeDocument/2006/relationships/customXml" Target="../customXml/item71.xml"/><Relationship Id="rId92" Type="http://schemas.openxmlformats.org/officeDocument/2006/relationships/customXml" Target="../customXml/item92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customXml" Target="../customXml/item66.xml"/><Relationship Id="rId87" Type="http://schemas.openxmlformats.org/officeDocument/2006/relationships/customXml" Target="../customXml/item87.xml"/><Relationship Id="rId110" Type="http://schemas.openxmlformats.org/officeDocument/2006/relationships/slide" Target="slides/slide5.xml"/><Relationship Id="rId115" Type="http://schemas.openxmlformats.org/officeDocument/2006/relationships/slide" Target="slides/slide10.xml"/><Relationship Id="rId61" Type="http://schemas.openxmlformats.org/officeDocument/2006/relationships/customXml" Target="../customXml/item61.xml"/><Relationship Id="rId82" Type="http://schemas.openxmlformats.org/officeDocument/2006/relationships/customXml" Target="../customXml/item8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ADE3F48-5C8F-494D-B1B1-8F3ABEB0C144}" type="datetimeFigureOut">
              <a:rPr lang="en-US"/>
              <a:pPr>
                <a:defRPr/>
              </a:pPr>
              <a:t>4/23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90FDC29-D7E1-40C4-8D21-9E2940D26D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00150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FDC29-D7E1-40C4-8D21-9E2940D26DF7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77678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20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FDC29-D7E1-40C4-8D21-9E2940D26DF7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30979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20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FDC29-D7E1-40C4-8D21-9E2940D26DF7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7087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FDC29-D7E1-40C4-8D21-9E2940D26DF7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26384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2000" kern="0" spc="-150" dirty="0" smtClean="0">
              <a:solidFill>
                <a:schemeClr val="tx2">
                  <a:lumMod val="75000"/>
                </a:schemeClr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FDC29-D7E1-40C4-8D21-9E2940D26DF7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1951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2000" kern="0" spc="-150" dirty="0" smtClean="0">
              <a:solidFill>
                <a:schemeClr val="tx2">
                  <a:lumMod val="75000"/>
                </a:schemeClr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FDC29-D7E1-40C4-8D21-9E2940D26DF7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6708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2000" kern="0" spc="-150" dirty="0" smtClean="0">
              <a:solidFill>
                <a:schemeClr val="tx2">
                  <a:lumMod val="75000"/>
                </a:schemeClr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FDC29-D7E1-40C4-8D21-9E2940D26DF7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11191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2000" kern="0" spc="-150" dirty="0" smtClean="0">
              <a:solidFill>
                <a:schemeClr val="tx2">
                  <a:lumMod val="75000"/>
                </a:schemeClr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FDC29-D7E1-40C4-8D21-9E2940D26DF7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131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2000" kern="0" spc="-150" dirty="0" smtClean="0">
              <a:solidFill>
                <a:schemeClr val="tx2">
                  <a:lumMod val="75000"/>
                </a:schemeClr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FDC29-D7E1-40C4-8D21-9E2940D26DF7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86484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spc="-15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2000" kern="0" spc="-150" dirty="0" smtClean="0">
              <a:solidFill>
                <a:schemeClr val="tx2">
                  <a:lumMod val="75000"/>
                </a:schemeClr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FDC29-D7E1-40C4-8D21-9E2940D26DF7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09218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FDC29-D7E1-40C4-8D21-9E2940D26DF7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8504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FDC29-D7E1-40C4-8D21-9E2940D26DF7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80816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FDC29-D7E1-40C4-8D21-9E2940D26DF7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0438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20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FDC29-D7E1-40C4-8D21-9E2940D26DF7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8246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20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FDC29-D7E1-40C4-8D21-9E2940D26DF7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456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20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FDC29-D7E1-40C4-8D21-9E2940D26DF7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64677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20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FDC29-D7E1-40C4-8D21-9E2940D26DF7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5639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s://www.e-education.psu.edu/geog486/node/1877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FDC29-D7E1-40C4-8D21-9E2940D26DF7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88780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://www.spatialanalysisonline.com/HTML/index.html?inverse_distance_weighting_idw.ht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FDC29-D7E1-40C4-8D21-9E2940D26DF7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655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1" y="213043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9CCE8D-8D5B-4BA4-A959-7B61051709D8}" type="datetimeFigureOut">
              <a:rPr lang="en-US"/>
              <a:pPr>
                <a:defRPr/>
              </a:pPr>
              <a:t>4/2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F901F0-98C0-4DD0-8286-FE6388EB064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99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 advTm="2968">
        <p:fade/>
      </p:transition>
    </mc:Choice>
    <mc:Fallback xmlns="">
      <p:transition advClick="0" advTm="2968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929" y="2084172"/>
            <a:ext cx="8740142" cy="1796217"/>
          </a:xfrm>
          <a:noFill/>
        </p:spPr>
        <p:txBody>
          <a:bodyPr tIns="91440" bIns="91440" anchor="t" anchorCtr="0"/>
          <a:lstStyle>
            <a:lvl1pPr>
              <a:defRPr sz="6471" spc="-74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3181074" y="6586705"/>
            <a:ext cx="2781852" cy="11881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772" spc="110" dirty="0" smtClean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3733820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929" y="2084172"/>
            <a:ext cx="8740142" cy="1796217"/>
          </a:xfrm>
          <a:noFill/>
        </p:spPr>
        <p:txBody>
          <a:bodyPr tIns="91440" bIns="91440" anchor="t" anchorCtr="0"/>
          <a:lstStyle>
            <a:lvl1pPr>
              <a:defRPr sz="6471" spc="-74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25449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01929" y="1189177"/>
            <a:ext cx="8740142" cy="1538242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471"/>
            </a:lvl2pPr>
            <a:lvl3pPr marL="168090" indent="0">
              <a:buNone/>
              <a:defRPr/>
            </a:lvl3pPr>
            <a:lvl4pPr marL="336179" indent="0">
              <a:buNone/>
              <a:defRPr/>
            </a:lvl4pPr>
            <a:lvl5pPr marL="504269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47737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01929" y="1189177"/>
            <a:ext cx="8740142" cy="1538242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471"/>
            </a:lvl2pPr>
            <a:lvl3pPr marL="168090" indent="0">
              <a:buNone/>
              <a:defRPr/>
            </a:lvl3pPr>
            <a:lvl4pPr marL="336179" indent="0">
              <a:buNone/>
              <a:defRPr/>
            </a:lvl4pPr>
            <a:lvl5pPr marL="504269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3181074" y="6586705"/>
            <a:ext cx="2781852" cy="11881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772" spc="110" dirty="0" smtClean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6859009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1929" y="1189177"/>
            <a:ext cx="8740142" cy="1587999"/>
          </a:xfrm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3181074" y="6586705"/>
            <a:ext cx="2781852" cy="11881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772" spc="110" dirty="0" smtClean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4956281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1929" y="1189177"/>
            <a:ext cx="8740142" cy="1587999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3181074" y="6586705"/>
            <a:ext cx="2781852" cy="11881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772" spc="110" dirty="0" smtClean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1086675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1930" y="1189176"/>
            <a:ext cx="4033911" cy="1864228"/>
          </a:xfrm>
        </p:spPr>
        <p:txBody>
          <a:bodyPr wrap="square">
            <a:spAutoFit/>
          </a:bodyPr>
          <a:lstStyle>
            <a:lvl1pPr marL="0" indent="0">
              <a:spcBef>
                <a:spcPts val="900"/>
              </a:spcBef>
              <a:buClr>
                <a:schemeClr val="tx1"/>
              </a:buClr>
              <a:buFont typeface="Wingdings" pitchFamily="2" charset="2"/>
              <a:buNone/>
              <a:defRPr sz="264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471"/>
            </a:lvl2pPr>
            <a:lvl3pPr marL="170424" indent="0">
              <a:buNone/>
              <a:tabLst/>
              <a:defRPr sz="1471"/>
            </a:lvl3pPr>
            <a:lvl4pPr marL="338514" indent="0">
              <a:buNone/>
              <a:defRPr/>
            </a:lvl4pPr>
            <a:lvl5pPr marL="504269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08161" y="1189176"/>
            <a:ext cx="4033911" cy="1864228"/>
          </a:xfrm>
        </p:spPr>
        <p:txBody>
          <a:bodyPr wrap="square">
            <a:spAutoFit/>
          </a:bodyPr>
          <a:lstStyle>
            <a:lvl1pPr marL="0" indent="0">
              <a:spcBef>
                <a:spcPts val="900"/>
              </a:spcBef>
              <a:buClr>
                <a:schemeClr val="tx1"/>
              </a:buClr>
              <a:buFont typeface="Wingdings" pitchFamily="2" charset="2"/>
              <a:buNone/>
              <a:defRPr sz="264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471"/>
            </a:lvl2pPr>
            <a:lvl3pPr marL="170424" indent="0">
              <a:buNone/>
              <a:tabLst/>
              <a:defRPr sz="1471"/>
            </a:lvl3pPr>
            <a:lvl4pPr marL="338514" indent="0">
              <a:buNone/>
              <a:defRPr/>
            </a:lvl4pPr>
            <a:lvl5pPr marL="504269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3181074" y="6586705"/>
            <a:ext cx="2781852" cy="11881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772" spc="110" dirty="0" smtClean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9176529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1930" y="1189176"/>
            <a:ext cx="4033911" cy="1864228"/>
          </a:xfrm>
        </p:spPr>
        <p:txBody>
          <a:bodyPr wrap="square">
            <a:spAutoFit/>
          </a:bodyPr>
          <a:lstStyle>
            <a:lvl1pPr marL="0" indent="0">
              <a:spcBef>
                <a:spcPts val="900"/>
              </a:spcBef>
              <a:buClr>
                <a:schemeClr val="tx1"/>
              </a:buClr>
              <a:buFont typeface="Wingdings" pitchFamily="2" charset="2"/>
              <a:buNone/>
              <a:defRPr sz="2647"/>
            </a:lvl1pPr>
            <a:lvl2pPr marL="0" indent="0">
              <a:buNone/>
              <a:defRPr sz="1471"/>
            </a:lvl2pPr>
            <a:lvl3pPr marL="170424" indent="0">
              <a:buNone/>
              <a:tabLst/>
              <a:defRPr sz="1471"/>
            </a:lvl3pPr>
            <a:lvl4pPr marL="338514" indent="0">
              <a:buNone/>
              <a:defRPr/>
            </a:lvl4pPr>
            <a:lvl5pPr marL="504269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08161" y="1189176"/>
            <a:ext cx="4033911" cy="1864228"/>
          </a:xfrm>
        </p:spPr>
        <p:txBody>
          <a:bodyPr wrap="square">
            <a:spAutoFit/>
          </a:bodyPr>
          <a:lstStyle>
            <a:lvl1pPr marL="0" indent="0">
              <a:spcBef>
                <a:spcPts val="900"/>
              </a:spcBef>
              <a:buClr>
                <a:schemeClr val="tx1"/>
              </a:buClr>
              <a:buFont typeface="Wingdings" pitchFamily="2" charset="2"/>
              <a:buNone/>
              <a:defRPr sz="2647"/>
            </a:lvl1pPr>
            <a:lvl2pPr marL="0" indent="0">
              <a:buNone/>
              <a:defRPr sz="1471"/>
            </a:lvl2pPr>
            <a:lvl3pPr marL="170424" indent="0">
              <a:buNone/>
              <a:tabLst/>
              <a:defRPr sz="1471"/>
            </a:lvl3pPr>
            <a:lvl4pPr marL="338514" indent="0">
              <a:buNone/>
              <a:defRPr/>
            </a:lvl4pPr>
            <a:lvl5pPr marL="504269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3181074" y="6586705"/>
            <a:ext cx="2781852" cy="11881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772" spc="110" dirty="0" smtClean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866510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1930" y="1189176"/>
            <a:ext cx="4033911" cy="1913985"/>
          </a:xfrm>
        </p:spPr>
        <p:txBody>
          <a:bodyPr wrap="square">
            <a:spAutoFit/>
          </a:bodyPr>
          <a:lstStyle>
            <a:lvl1pPr marL="211280" indent="-211280">
              <a:spcBef>
                <a:spcPts val="900"/>
              </a:spcBef>
              <a:buClr>
                <a:schemeClr val="tx1"/>
              </a:buClr>
              <a:buFont typeface="Arial" pitchFamily="34" charset="0"/>
              <a:buChar char="•"/>
              <a:defRPr sz="2647"/>
            </a:lvl1pPr>
            <a:lvl2pPr marL="390566" indent="-171468">
              <a:defRPr sz="1765"/>
            </a:lvl2pPr>
            <a:lvl3pPr marL="514405" indent="-123838">
              <a:tabLst/>
              <a:defRPr sz="1471"/>
            </a:lvl3pPr>
            <a:lvl4pPr marL="647768" indent="-133364">
              <a:defRPr/>
            </a:lvl4pPr>
            <a:lvl5pPr marL="771607" indent="-123838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08161" y="1189176"/>
            <a:ext cx="4033911" cy="1913985"/>
          </a:xfrm>
        </p:spPr>
        <p:txBody>
          <a:bodyPr wrap="square">
            <a:spAutoFit/>
          </a:bodyPr>
          <a:lstStyle>
            <a:lvl1pPr marL="211280" indent="-211280">
              <a:spcBef>
                <a:spcPts val="900"/>
              </a:spcBef>
              <a:buClr>
                <a:schemeClr val="tx1"/>
              </a:buClr>
              <a:buFont typeface="Arial" pitchFamily="34" charset="0"/>
              <a:buChar char="•"/>
              <a:defRPr sz="2647"/>
            </a:lvl1pPr>
            <a:lvl2pPr marL="390566" indent="-171468">
              <a:defRPr sz="1765"/>
            </a:lvl2pPr>
            <a:lvl3pPr marL="514405" indent="-123838">
              <a:tabLst/>
              <a:defRPr sz="1471"/>
            </a:lvl3pPr>
            <a:lvl4pPr marL="647768" indent="-133364">
              <a:defRPr/>
            </a:lvl4pPr>
            <a:lvl5pPr marL="771607" indent="-123838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3181074" y="6586705"/>
            <a:ext cx="2781852" cy="11881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772" spc="110" dirty="0" smtClean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5044467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1930" y="1189176"/>
            <a:ext cx="4033911" cy="1913985"/>
          </a:xfrm>
        </p:spPr>
        <p:txBody>
          <a:bodyPr wrap="square">
            <a:spAutoFit/>
          </a:bodyPr>
          <a:lstStyle>
            <a:lvl1pPr marL="211280" indent="-211280">
              <a:spcBef>
                <a:spcPts val="900"/>
              </a:spcBef>
              <a:buClr>
                <a:schemeClr val="tx2"/>
              </a:buClr>
              <a:buFont typeface="Arial" pitchFamily="34" charset="0"/>
              <a:buChar char="•"/>
              <a:defRPr sz="264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390566" indent="-171468">
              <a:defRPr sz="1765"/>
            </a:lvl2pPr>
            <a:lvl3pPr marL="514405" indent="-123838">
              <a:tabLst/>
              <a:defRPr sz="1471"/>
            </a:lvl3pPr>
            <a:lvl4pPr marL="647768" indent="-133364">
              <a:defRPr/>
            </a:lvl4pPr>
            <a:lvl5pPr marL="771607" indent="-123838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08161" y="1189176"/>
            <a:ext cx="4033911" cy="1913985"/>
          </a:xfrm>
        </p:spPr>
        <p:txBody>
          <a:bodyPr wrap="square">
            <a:spAutoFit/>
          </a:bodyPr>
          <a:lstStyle>
            <a:lvl1pPr marL="211280" indent="-211280">
              <a:spcBef>
                <a:spcPts val="900"/>
              </a:spcBef>
              <a:buClr>
                <a:schemeClr val="tx2"/>
              </a:buClr>
              <a:buFont typeface="Arial" pitchFamily="34" charset="0"/>
              <a:buChar char="•"/>
              <a:defRPr sz="264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390566" indent="-171468">
              <a:defRPr sz="1765"/>
            </a:lvl2pPr>
            <a:lvl3pPr marL="514405" indent="-123838">
              <a:tabLst/>
              <a:defRPr sz="1471"/>
            </a:lvl3pPr>
            <a:lvl4pPr marL="647768" indent="-133364">
              <a:defRPr/>
            </a:lvl4pPr>
            <a:lvl5pPr marL="771607" indent="-123838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3181074" y="6586705"/>
            <a:ext cx="2781852" cy="11881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772" spc="110" dirty="0" smtClean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9557955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ER NAME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NAME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|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3348567" y="1136829"/>
            <a:ext cx="232833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86891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3181074" y="6586705"/>
            <a:ext cx="2781852" cy="11881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772" spc="110" dirty="0" smtClean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4877020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3181074" y="6586705"/>
            <a:ext cx="2781852" cy="11881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772" spc="110" dirty="0" smtClean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3062651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262"/>
          <a:stretch/>
        </p:blipFill>
        <p:spPr>
          <a:xfrm>
            <a:off x="233" y="-312"/>
            <a:ext cx="9143533" cy="6858623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12753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3181074" y="6586705"/>
            <a:ext cx="2781852" cy="11881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772" spc="110" dirty="0" smtClean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3739599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3181074" y="6586705"/>
            <a:ext cx="2781852" cy="11881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772" spc="110" dirty="0" smtClean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9860494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3181074" y="6586705"/>
            <a:ext cx="2781852" cy="11881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772" spc="110" dirty="0" smtClean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7510681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for Developer Cod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9144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292" tIns="34292" rIns="34292" bIns="34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/>
            <a:endParaRPr lang="en-US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01930" y="1197322"/>
            <a:ext cx="8740141" cy="1516697"/>
          </a:xfrm>
        </p:spPr>
        <p:txBody>
          <a:bodyPr/>
          <a:lstStyle>
            <a:lvl1pPr marL="0" indent="0">
              <a:buNone/>
              <a:defRPr sz="2426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1pPr>
            <a:lvl2pPr marL="25482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2pPr>
            <a:lvl3pPr marL="4298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3pPr>
            <a:lvl4pPr marL="598948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4pPr>
            <a:lvl5pPr marL="772798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45564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01929" y="1189177"/>
            <a:ext cx="8740142" cy="1845826"/>
          </a:xfrm>
          <a:prstGeom prst="rect">
            <a:avLst/>
          </a:prstGeom>
        </p:spPr>
        <p:txBody>
          <a:bodyPr/>
          <a:lstStyle>
            <a:lvl1pPr marL="213614" indent="-213614">
              <a:buClr>
                <a:schemeClr val="tx1"/>
              </a:buClr>
              <a:buSzPct val="90000"/>
              <a:buFont typeface="Arial" pitchFamily="34" charset="0"/>
              <a:buChar char="•"/>
              <a:defRPr sz="264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20224" indent="-206610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633838" indent="-213614">
              <a:buClr>
                <a:schemeClr val="tx1"/>
              </a:buClr>
              <a:buSzPct val="90000"/>
              <a:buFont typeface="Arial" pitchFamily="34" charset="0"/>
              <a:buChar char="•"/>
              <a:defRPr sz="205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801928" indent="-168090">
              <a:buClr>
                <a:schemeClr val="tx1"/>
              </a:buClr>
              <a:buSzPct val="90000"/>
              <a:buFont typeface="Arial" pitchFamily="34" charset="0"/>
              <a:buChar char="•"/>
              <a:defRPr sz="176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970017" indent="-168090">
              <a:buClr>
                <a:schemeClr val="tx1"/>
              </a:buClr>
              <a:buSzPct val="90000"/>
              <a:buFont typeface="Arial" pitchFamily="34" charset="0"/>
              <a:buChar char="•"/>
              <a:defRPr sz="147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9144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2721" spc="-38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82943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ER NAME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NAME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|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3348567" y="1136829"/>
            <a:ext cx="2328333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326653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1658" y="762000"/>
            <a:ext cx="4267200" cy="3048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600" cap="all" baseline="0">
                <a:solidFill>
                  <a:srgbClr val="595959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 smtClean="0"/>
              <a:t>THIS IS EXAMPLE TEX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11658" y="274638"/>
            <a:ext cx="8527542" cy="48736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200">
                <a:solidFill>
                  <a:srgbClr val="595959"/>
                </a:solidFill>
                <a:latin typeface="Calibri Light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domainname.com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Logo Company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101D46F-57A9-43DB-8B55-C38BE222674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94618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03328" y="3877271"/>
            <a:ext cx="7394106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64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01929" y="2075840"/>
            <a:ext cx="7395458" cy="1801436"/>
          </a:xfrm>
          <a:noFill/>
        </p:spPr>
        <p:txBody>
          <a:bodyPr lIns="146304" tIns="91440" rIns="146304" bIns="91440" anchor="t" anchorCtr="0"/>
          <a:lstStyle>
            <a:lvl1pPr>
              <a:defRPr sz="4412" spc="-74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7655400" y="470410"/>
            <a:ext cx="1141803" cy="326167"/>
          </a:xfrm>
          <a:prstGeom prst="rect">
            <a:avLst/>
          </a:prstGeom>
        </p:spPr>
      </p:pic>
      <p:sp>
        <p:nvSpPr>
          <p:cNvPr id="7" name="TextBox 7"/>
          <p:cNvSpPr txBox="1"/>
          <p:nvPr userDrawn="1"/>
        </p:nvSpPr>
        <p:spPr bwMode="white">
          <a:xfrm>
            <a:off x="3181074" y="6586705"/>
            <a:ext cx="2781852" cy="11881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772" spc="110" dirty="0" smtClean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01930" y="470411"/>
            <a:ext cx="2285905" cy="388376"/>
          </a:xfrm>
        </p:spPr>
        <p:txBody>
          <a:bodyPr/>
          <a:lstStyle>
            <a:lvl1pPr marL="0" indent="0">
              <a:buNone/>
              <a:defRPr sz="1471"/>
            </a:lvl1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0675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91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7665758" y="6057328"/>
            <a:ext cx="1141803" cy="32616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882914" y="1728540"/>
            <a:ext cx="5383702" cy="3156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427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01976" y="1187644"/>
            <a:ext cx="7395458" cy="2689633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64" tIns="107571" rIns="134464" bIns="1075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>
              <a:lnSpc>
                <a:spcPct val="90000"/>
              </a:lnSpc>
            </a:pPr>
            <a:endParaRPr lang="en-US" sz="1765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930" y="1186356"/>
            <a:ext cx="7394337" cy="2697988"/>
          </a:xfrm>
          <a:noFill/>
        </p:spPr>
        <p:txBody>
          <a:bodyPr tIns="91440" bIns="91440" anchor="t" anchorCtr="0"/>
          <a:lstStyle>
            <a:lvl1pPr>
              <a:defRPr sz="5294" spc="-74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01930" y="3877277"/>
            <a:ext cx="7395505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264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3181074" y="6586705"/>
            <a:ext cx="2781852" cy="11881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772" spc="110" dirty="0" smtClean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449566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01976" y="1187644"/>
            <a:ext cx="7395458" cy="2689632"/>
          </a:xfrm>
          <a:prstGeom prst="rect">
            <a:avLst/>
          </a:prstGeom>
          <a:solidFill>
            <a:schemeClr val="accent2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64" tIns="107571" rIns="134464" bIns="1075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>
              <a:lnSpc>
                <a:spcPct val="90000"/>
              </a:lnSpc>
            </a:pPr>
            <a:endParaRPr lang="en-US" sz="1765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930" y="1186356"/>
            <a:ext cx="7394337" cy="2697988"/>
          </a:xfrm>
          <a:noFill/>
        </p:spPr>
        <p:txBody>
          <a:bodyPr tIns="91440" bIns="91440" anchor="t" anchorCtr="0"/>
          <a:lstStyle>
            <a:lvl1pPr>
              <a:defRPr sz="5294" spc="-74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Video title</a:t>
            </a:r>
            <a:endParaRPr lang="en-US" dirty="0"/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3181074" y="6586705"/>
            <a:ext cx="2781852" cy="11881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772" spc="110" dirty="0" smtClean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768423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929" y="2084172"/>
            <a:ext cx="8740142" cy="1796217"/>
          </a:xfrm>
          <a:noFill/>
        </p:spPr>
        <p:txBody>
          <a:bodyPr tIns="91440" bIns="91440" anchor="t" anchorCtr="0"/>
          <a:lstStyle>
            <a:lvl1pPr>
              <a:defRPr sz="6471" spc="-74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26072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4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1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1" y="160021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3CE53A7-FB2E-4556-B987-7720812E9C2C}" type="datetimeFigureOut">
              <a:rPr lang="en-US"/>
              <a:pPr>
                <a:defRPr/>
              </a:pPr>
              <a:t>4/2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1" y="6356359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1" y="63563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FC434C9-CA29-461A-9F3C-E290C3E08CF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p14:dur="250" advClick="0" advTm="2968">
        <p:fade/>
      </p:transition>
    </mc:Choice>
    <mc:Fallback xmlns="">
      <p:transition advClick="0" advTm="2968">
        <p:fade/>
      </p:transition>
    </mc:Fallback>
  </mc:AlternateConten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178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354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532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709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882" indent="-342882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Arial" pitchFamily="34" charset="0"/>
        </a:defRPr>
      </a:lvl1pPr>
      <a:lvl2pPr marL="742913" indent="-285737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Arial" pitchFamily="34" charset="0"/>
        </a:defRPr>
      </a:lvl2pPr>
      <a:lvl3pPr marL="1142942" indent="-228589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pitchFamily="34" charset="0"/>
        </a:defRPr>
      </a:lvl3pPr>
      <a:lvl4pPr marL="1600120" indent="-228589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pitchFamily="34" charset="0"/>
        </a:defRPr>
      </a:lvl4pPr>
      <a:lvl5pPr marL="2057298" indent="-228589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5pPr>
      <a:lvl6pPr marL="2514474" indent="-228589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6pPr>
      <a:lvl7pPr marL="2971652" indent="-228589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7pPr>
      <a:lvl8pPr marL="3428829" indent="-228589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8pPr>
      <a:lvl9pPr marL="3886006" indent="-228589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9pPr>
    </p:bodyStyle>
    <p:otherStyle/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>
          <a:xfrm>
            <a:off x="-114856" y="0"/>
            <a:ext cx="9271556" cy="6858000"/>
            <a:chOff x="-114856" y="0"/>
            <a:chExt cx="9271556" cy="6858000"/>
          </a:xfrm>
        </p:grpSpPr>
        <p:sp>
          <p:nvSpPr>
            <p:cNvPr id="14" name="Rectangle 13"/>
            <p:cNvSpPr/>
            <p:nvPr userDrawn="1">
              <p:custDataLst>
                <p:tags r:id="rId6"/>
              </p:custDataLst>
            </p:nvPr>
          </p:nvSpPr>
          <p:spPr>
            <a:xfrm>
              <a:off x="0" y="0"/>
              <a:ext cx="9156700" cy="6858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782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grpSp>
          <p:nvGrpSpPr>
            <p:cNvPr id="15" name="Group 14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0" y="0"/>
              <a:ext cx="9156700" cy="6858000"/>
              <a:chOff x="0" y="0"/>
              <a:chExt cx="9156700" cy="6858000"/>
            </a:xfrm>
          </p:grpSpPr>
          <p:sp>
            <p:nvSpPr>
              <p:cNvPr id="16" name="Rectangle 15"/>
              <p:cNvSpPr/>
              <p:nvPr userDrawn="1"/>
            </p:nvSpPr>
            <p:spPr>
              <a:xfrm>
                <a:off x="0" y="0"/>
                <a:ext cx="9144000" cy="685800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1000">
                    <a:schemeClr val="bg1">
                      <a:lumMod val="95000"/>
                    </a:schemeClr>
                  </a:gs>
                </a:gsLst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 userDrawn="1"/>
            </p:nvSpPr>
            <p:spPr>
              <a:xfrm>
                <a:off x="12700" y="3848100"/>
                <a:ext cx="9144000" cy="3008313"/>
              </a:xfrm>
              <a:prstGeom prst="rect">
                <a:avLst/>
              </a:prstGeom>
              <a:solidFill>
                <a:schemeClr val="bg1">
                  <a:lumMod val="95000"/>
                  <a:alpha val="49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cxnSp>
          <p:nvCxnSpPr>
            <p:cNvPr id="18" name="Straight Connector 17"/>
            <p:cNvCxnSpPr/>
            <p:nvPr userDrawn="1">
              <p:custDataLst>
                <p:tags r:id="rId8"/>
              </p:custDataLst>
            </p:nvPr>
          </p:nvCxnSpPr>
          <p:spPr>
            <a:xfrm>
              <a:off x="-114856" y="3554413"/>
              <a:ext cx="9254067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lumMod val="95000"/>
                      <a:alpha val="0"/>
                    </a:schemeClr>
                  </a:gs>
                  <a:gs pos="53000">
                    <a:schemeClr val="bg1">
                      <a:lumMod val="95000"/>
                    </a:schemeClr>
                  </a:gs>
                  <a:gs pos="100000">
                    <a:schemeClr val="bg1">
                      <a:lumMod val="95000"/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40005" dist="19939" dir="5400000" sx="102000" sy="102000" algn="tl" rotWithShape="0">
                <a:srgbClr val="000000">
                  <a:alpha val="16000"/>
                </a:srgbClr>
              </a:outerShdw>
              <a:softEdge rad="12700"/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00825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t>PRESENTER NAME</a:t>
            </a:r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t>COMPANY NAME</a:t>
            </a:r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2125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CE8A1A-EF06-42BD-8183-7D22FECA910D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en-US" dirty="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t>|</a:t>
            </a:r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1247437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1930" y="289511"/>
            <a:ext cx="874188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01931" y="1189178"/>
            <a:ext cx="8740140" cy="1587999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7200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70" r:id="rId16"/>
    <p:sldLayoutId id="2147483671" r:id="rId17"/>
    <p:sldLayoutId id="2147483672" r:id="rId18"/>
    <p:sldLayoutId id="2147483673" r:id="rId19"/>
    <p:sldLayoutId id="2147483674" r:id="rId20"/>
    <p:sldLayoutId id="2147483675" r:id="rId21"/>
    <p:sldLayoutId id="2147483676" r:id="rId22"/>
    <p:sldLayoutId id="2147483677" r:id="rId23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685845" rtl="0" eaLnBrk="1" latinLnBrk="0" hangingPunct="1">
        <a:lnSpc>
          <a:spcPct val="90000"/>
        </a:lnSpc>
        <a:spcBef>
          <a:spcPct val="0"/>
        </a:spcBef>
        <a:buNone/>
        <a:defRPr lang="en-US" sz="3971" b="0" kern="1200" cap="none" spc="-75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52134" marR="0" indent="-252134" algn="l" defTabSz="68584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94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29562" marR="0" indent="-177428" algn="l" defTabSz="68584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588314" marR="0" indent="-168090" algn="l" defTabSz="68584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47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756403" marR="0" indent="-168090" algn="l" defTabSz="68584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924493" marR="0" indent="-168090" algn="l" defTabSz="68584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1886074" indent="-171462" algn="l" defTabSz="685845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6pPr>
      <a:lvl7pPr marL="2228997" indent="-171462" algn="l" defTabSz="685845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7pPr>
      <a:lvl8pPr marL="2571920" indent="-171462" algn="l" defTabSz="685845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8pPr>
      <a:lvl9pPr marL="2914843" indent="-171462" algn="l" defTabSz="685845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4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1pPr>
      <a:lvl2pPr marL="342923" algn="l" defTabSz="68584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2pPr>
      <a:lvl3pPr marL="685845" algn="l" defTabSz="68584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3pPr>
      <a:lvl4pPr marL="1028768" algn="l" defTabSz="68584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4pPr>
      <a:lvl5pPr marL="1371690" algn="l" defTabSz="68584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5pPr>
      <a:lvl6pPr marL="1714614" algn="l" defTabSz="68584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6pPr>
      <a:lvl7pPr marL="2057536" algn="l" defTabSz="68584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7pPr>
      <a:lvl8pPr marL="2400458" algn="l" defTabSz="68584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8pPr>
      <a:lvl9pPr marL="2743382" algn="l" defTabSz="68584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jpeg"/><Relationship Id="rId5" Type="http://schemas.openxmlformats.org/officeDocument/2006/relationships/image" Target="../media/image24.JPG"/><Relationship Id="rId4" Type="http://schemas.openxmlformats.org/officeDocument/2006/relationships/image" Target="../media/image23.jpeg"/><Relationship Id="rId9" Type="http://schemas.openxmlformats.org/officeDocument/2006/relationships/image" Target="../media/image28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1.JPG"/><Relationship Id="rId4" Type="http://schemas.openxmlformats.org/officeDocument/2006/relationships/image" Target="../media/image30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6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7" Type="http://schemas.openxmlformats.org/officeDocument/2006/relationships/image" Target="../media/image41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0.jpg"/><Relationship Id="rId5" Type="http://schemas.openxmlformats.org/officeDocument/2006/relationships/image" Target="../media/image39.jpg"/><Relationship Id="rId4" Type="http://schemas.openxmlformats.org/officeDocument/2006/relationships/image" Target="../media/image38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JP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 flipH="1" flipV="1">
            <a:off x="0" y="87193"/>
            <a:ext cx="9144000" cy="6683623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81000"/>
                </a:schemeClr>
              </a:gs>
              <a:gs pos="1300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108015" y="269653"/>
            <a:ext cx="8712460" cy="631870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2" name="Rectangle 21"/>
          <p:cNvSpPr/>
          <p:nvPr/>
        </p:nvSpPr>
        <p:spPr>
          <a:xfrm>
            <a:off x="889052" y="836709"/>
            <a:ext cx="7352499" cy="223224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0" y="5867400"/>
            <a:ext cx="9144000" cy="9906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  <a:shade val="30000"/>
                  <a:satMod val="115000"/>
                </a:schemeClr>
              </a:gs>
              <a:gs pos="50000">
                <a:schemeClr val="tx2">
                  <a:lumMod val="75000"/>
                  <a:shade val="67500"/>
                  <a:satMod val="115000"/>
                </a:schemeClr>
              </a:gs>
              <a:gs pos="100000">
                <a:schemeClr val="tx2">
                  <a:lumMod val="75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/>
          </a:p>
        </p:txBody>
      </p:sp>
      <p:cxnSp>
        <p:nvCxnSpPr>
          <p:cNvPr id="21" name="Straight Connector 20"/>
          <p:cNvCxnSpPr/>
          <p:nvPr/>
        </p:nvCxnSpPr>
        <p:spPr>
          <a:xfrm>
            <a:off x="5638800" y="6096000"/>
            <a:ext cx="0" cy="6096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132" y="6034088"/>
            <a:ext cx="616960" cy="59531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376" y="6150526"/>
            <a:ext cx="4053024" cy="304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782477" y="6034088"/>
            <a:ext cx="33791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bg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ography Department</a:t>
            </a:r>
            <a:endParaRPr lang="en-US" sz="2400" b="1" dirty="0">
              <a:solidFill>
                <a:schemeClr val="bg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6" name="Picture 3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70" b="1508"/>
          <a:stretch>
            <a:fillRect/>
          </a:stretch>
        </p:blipFill>
        <p:spPr bwMode="auto">
          <a:xfrm>
            <a:off x="7656" y="-152636"/>
            <a:ext cx="9181481" cy="5850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0" y="764704"/>
            <a:ext cx="9144000" cy="170345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  <a:shade val="30000"/>
                  <a:satMod val="115000"/>
                  <a:alpha val="0"/>
                </a:schemeClr>
              </a:gs>
              <a:gs pos="50000">
                <a:schemeClr val="tx2">
                  <a:lumMod val="75000"/>
                  <a:shade val="67500"/>
                  <a:satMod val="115000"/>
                </a:schemeClr>
              </a:gs>
              <a:gs pos="100000">
                <a:schemeClr val="tx2">
                  <a:lumMod val="75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1077201" y="1998188"/>
            <a:ext cx="6989603" cy="408384"/>
          </a:xfrm>
          <a:prstGeom prst="rect">
            <a:avLst/>
          </a:prstGeom>
          <a:effectLst/>
        </p:spPr>
        <p:txBody>
          <a:bodyPr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 fontAlgn="auto">
              <a:spcAft>
                <a:spcPts val="0"/>
              </a:spcAft>
              <a:defRPr/>
            </a:pPr>
            <a:endParaRPr lang="en-US" sz="2300" spc="-151" dirty="0">
              <a:ln w="11430"/>
              <a:solidFill>
                <a:srgbClr val="F8F8F8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ea typeface="Charis SIL" pitchFamily="2" charset="0"/>
              <a:cs typeface="Calibri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-36512" y="836712"/>
            <a:ext cx="9143999" cy="523254"/>
          </a:xfrm>
          <a:prstGeom prst="rect">
            <a:avLst/>
          </a:prstGeom>
          <a:effectLst/>
        </p:spPr>
        <p:txBody>
          <a:bodyPr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spc="-300" dirty="0">
                <a:ln w="11430"/>
                <a:solidFill>
                  <a:srgbClr val="FFFF00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Arial Black" pitchFamily="34" charset="0"/>
              </a:rPr>
              <a:t>Multi-scale Analysis of Surface-adjusted Geographic Distance</a:t>
            </a:r>
            <a:endParaRPr lang="en-US" sz="2400" b="1" spc="-300" dirty="0">
              <a:ln w="11430"/>
              <a:gradFill flip="none" rotWithShape="1">
                <a:gsLst>
                  <a:gs pos="0">
                    <a:srgbClr val="F8F8F8">
                      <a:shade val="30000"/>
                      <a:satMod val="115000"/>
                    </a:srgbClr>
                  </a:gs>
                  <a:gs pos="19000">
                    <a:srgbClr val="F8F8F8">
                      <a:shade val="67500"/>
                      <a:satMod val="115000"/>
                    </a:srgbClr>
                  </a:gs>
                  <a:gs pos="100000">
                    <a:srgbClr val="F8F8F8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Arial Black" pitchFamily="34" charset="0"/>
              <a:ea typeface="Charis SIL" pitchFamily="2" charset="0"/>
              <a:cs typeface="Charis SIL" pitchFamily="2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5508104" y="2924944"/>
            <a:ext cx="3672408" cy="1944217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  <a:shade val="30000"/>
                  <a:satMod val="115000"/>
                  <a:alpha val="0"/>
                </a:schemeClr>
              </a:gs>
              <a:gs pos="100000">
                <a:schemeClr val="tx2">
                  <a:lumMod val="75000"/>
                  <a:shade val="67500"/>
                  <a:satMod val="115000"/>
                </a:schemeClr>
              </a:gs>
              <a:gs pos="100000">
                <a:schemeClr val="tx2">
                  <a:lumMod val="75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40" name="Title 1"/>
          <p:cNvSpPr txBox="1">
            <a:spLocks/>
          </p:cNvSpPr>
          <p:nvPr/>
        </p:nvSpPr>
        <p:spPr>
          <a:xfrm>
            <a:off x="5580112" y="2924944"/>
            <a:ext cx="6312080" cy="1787740"/>
          </a:xfrm>
          <a:prstGeom prst="rect">
            <a:avLst/>
          </a:prstGeom>
          <a:effectLst/>
        </p:spPr>
        <p:txBody>
          <a:bodyPr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1"/>
            <a:r>
              <a:rPr lang="en-US" sz="3200" b="1" spc="-151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 pitchFamily="34" charset="0"/>
                <a:ea typeface="Charis SIL" pitchFamily="2" charset="0"/>
                <a:cs typeface="Calibri" pitchFamily="34" charset="0"/>
              </a:rPr>
              <a:t>Andrew </a:t>
            </a:r>
            <a:r>
              <a:rPr lang="en-US" sz="3200" b="1" spc="-151" dirty="0" err="1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 pitchFamily="34" charset="0"/>
                <a:ea typeface="Charis SIL" pitchFamily="2" charset="0"/>
                <a:cs typeface="Calibri" pitchFamily="34" charset="0"/>
              </a:rPr>
              <a:t>Eaman</a:t>
            </a:r>
            <a:endParaRPr lang="en-US" sz="3200" b="1" spc="-151" dirty="0">
              <a:ln w="11430"/>
              <a:solidFill>
                <a:srgbClr val="F8F8F8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Calibri" pitchFamily="34" charset="0"/>
              <a:ea typeface="Charis SIL" pitchFamily="2" charset="0"/>
              <a:cs typeface="Calibri" pitchFamily="34" charset="0"/>
            </a:endParaRPr>
          </a:p>
          <a:p>
            <a:pPr algn="l" rtl="1"/>
            <a:r>
              <a:rPr lang="en-US" sz="3200" b="1" spc="-151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 pitchFamily="34" charset="0"/>
                <a:ea typeface="Charis SIL" pitchFamily="2" charset="0"/>
                <a:cs typeface="Calibri" pitchFamily="34" charset="0"/>
              </a:rPr>
              <a:t>Meg  </a:t>
            </a:r>
            <a:r>
              <a:rPr lang="en-US" sz="3200" b="1" spc="-151" dirty="0" smtClean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 pitchFamily="34" charset="0"/>
                <a:ea typeface="Charis SIL" pitchFamily="2" charset="0"/>
                <a:cs typeface="Calibri" pitchFamily="34" charset="0"/>
              </a:rPr>
              <a:t>Brantley</a:t>
            </a:r>
          </a:p>
          <a:p>
            <a:pPr algn="l" rtl="1"/>
            <a:r>
              <a:rPr lang="en-US" sz="3200" b="1" spc="-151" dirty="0" smtClean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 pitchFamily="34" charset="0"/>
                <a:ea typeface="Charis SIL" pitchFamily="2" charset="0"/>
                <a:cs typeface="Calibri" pitchFamily="34" charset="0"/>
              </a:rPr>
              <a:t>Mehran Ghandehari</a:t>
            </a:r>
          </a:p>
          <a:p>
            <a:pPr algn="l" rtl="1"/>
            <a:endParaRPr lang="en-US" sz="3200" b="1" spc="-151" dirty="0" smtClean="0">
              <a:ln w="11430"/>
              <a:solidFill>
                <a:srgbClr val="F8F8F8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Calibri" pitchFamily="34" charset="0"/>
              <a:ea typeface="Charis SIL" pitchFamily="2" charset="0"/>
              <a:cs typeface="Calibri" pitchFamily="34" charset="0"/>
            </a:endParaRPr>
          </a:p>
          <a:p>
            <a:pPr rtl="1"/>
            <a:endParaRPr lang="en-US" sz="2400" b="1" spc="-151" dirty="0">
              <a:ln w="11430"/>
              <a:solidFill>
                <a:srgbClr val="F8F8F8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Calibri" pitchFamily="34" charset="0"/>
              <a:ea typeface="Charis SIL" pitchFamily="2" charset="0"/>
              <a:cs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337640" y="-66280"/>
            <a:ext cx="2806365" cy="58095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  <a:shade val="30000"/>
                  <a:satMod val="115000"/>
                  <a:alpha val="0"/>
                </a:schemeClr>
              </a:gs>
              <a:gs pos="50000">
                <a:schemeClr val="tx2">
                  <a:lumMod val="75000"/>
                  <a:shade val="67500"/>
                  <a:satMod val="115000"/>
                </a:schemeClr>
              </a:gs>
              <a:gs pos="100000">
                <a:schemeClr val="tx2">
                  <a:lumMod val="75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en-US" i="1" dirty="0"/>
              <a:t>April </a:t>
            </a:r>
            <a:r>
              <a:rPr lang="en-US" i="1" dirty="0" smtClean="0"/>
              <a:t>11th</a:t>
            </a:r>
            <a:r>
              <a:rPr lang="en-US" i="1" dirty="0"/>
              <a:t>, 2016</a:t>
            </a:r>
            <a:endParaRPr lang="en-US" i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164901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 advTm="2968">
        <p:fade/>
      </p:transition>
    </mc:Choice>
    <mc:Fallback xmlns="">
      <p:transition advClick="0" advTm="296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48"/>
          <p:cNvGrpSpPr>
            <a:grpSpLocks/>
          </p:cNvGrpSpPr>
          <p:nvPr/>
        </p:nvGrpSpPr>
        <p:grpSpPr bwMode="auto">
          <a:xfrm>
            <a:off x="0" y="-14288"/>
            <a:ext cx="9144000" cy="6872288"/>
            <a:chOff x="0" y="-14263"/>
            <a:chExt cx="9144000" cy="6872263"/>
          </a:xfrm>
        </p:grpSpPr>
        <p:sp>
          <p:nvSpPr>
            <p:cNvPr id="50" name="Rectangle 49"/>
            <p:cNvSpPr/>
            <p:nvPr/>
          </p:nvSpPr>
          <p:spPr>
            <a:xfrm>
              <a:off x="0" y="-14263"/>
              <a:ext cx="9144000" cy="687226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0" y="68239"/>
              <a:ext cx="9144000" cy="6789761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95000"/>
                    <a:lumOff val="5000"/>
                  </a:schemeClr>
                </a:gs>
                <a:gs pos="0">
                  <a:schemeClr val="tx1">
                    <a:lumMod val="65000"/>
                    <a:lumOff val="3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glow>
                <a:schemeClr val="tx1">
                  <a:alpha val="0"/>
                </a:schemeClr>
              </a:glow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5" name="Rectangle 24"/>
          <p:cNvSpPr/>
          <p:nvPr/>
        </p:nvSpPr>
        <p:spPr>
          <a:xfrm>
            <a:off x="233011" y="620692"/>
            <a:ext cx="8677989" cy="5876781"/>
          </a:xfrm>
          <a:prstGeom prst="rect">
            <a:avLst/>
          </a:prstGeom>
          <a:solidFill>
            <a:schemeClr val="tx1">
              <a:alpha val="21961"/>
            </a:schemeClr>
          </a:solidFill>
          <a:ln>
            <a:noFill/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0" y="-14288"/>
            <a:ext cx="9144000" cy="6872289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87000"/>
                </a:schemeClr>
              </a:gs>
              <a:gs pos="13000">
                <a:schemeClr val="bg1"/>
              </a:gs>
            </a:gsLst>
            <a:lin ang="5400000" scaled="1"/>
            <a:tileRect/>
          </a:gradFill>
          <a:ln w="12700">
            <a:solidFill>
              <a:schemeClr val="bg1">
                <a:lumMod val="65000"/>
              </a:schemeClr>
            </a:solidFill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Freeform 15"/>
          <p:cNvSpPr/>
          <p:nvPr/>
        </p:nvSpPr>
        <p:spPr>
          <a:xfrm>
            <a:off x="0" y="-14289"/>
            <a:ext cx="9144000" cy="936104"/>
          </a:xfrm>
          <a:custGeom>
            <a:avLst/>
            <a:gdLst>
              <a:gd name="connsiteX0" fmla="*/ 0 w 7435339"/>
              <a:gd name="connsiteY0" fmla="*/ 0 h 792088"/>
              <a:gd name="connsiteX1" fmla="*/ 7435339 w 7435339"/>
              <a:gd name="connsiteY1" fmla="*/ 0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7723371"/>
              <a:gd name="connsiteY0" fmla="*/ 0 h 792088"/>
              <a:gd name="connsiteX1" fmla="*/ 7723371 w 7723371"/>
              <a:gd name="connsiteY1" fmla="*/ 19023 h 792088"/>
              <a:gd name="connsiteX2" fmla="*/ 7435339 w 7723371"/>
              <a:gd name="connsiteY2" fmla="*/ 792088 h 792088"/>
              <a:gd name="connsiteX3" fmla="*/ 0 w 7723371"/>
              <a:gd name="connsiteY3" fmla="*/ 792088 h 792088"/>
              <a:gd name="connsiteX4" fmla="*/ 0 w 7723371"/>
              <a:gd name="connsiteY4" fmla="*/ 0 h 792088"/>
              <a:gd name="connsiteX0" fmla="*/ 0 w 7435339"/>
              <a:gd name="connsiteY0" fmla="*/ 0 h 792088"/>
              <a:gd name="connsiteX1" fmla="*/ 6701228 w 7435339"/>
              <a:gd name="connsiteY1" fmla="*/ 19023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6723847"/>
              <a:gd name="connsiteY0" fmla="*/ 0 h 792088"/>
              <a:gd name="connsiteX1" fmla="*/ 6701228 w 6723847"/>
              <a:gd name="connsiteY1" fmla="*/ 19023 h 792088"/>
              <a:gd name="connsiteX2" fmla="*/ 6723847 w 6723847"/>
              <a:gd name="connsiteY2" fmla="*/ 792088 h 792088"/>
              <a:gd name="connsiteX3" fmla="*/ 0 w 6723847"/>
              <a:gd name="connsiteY3" fmla="*/ 792088 h 792088"/>
              <a:gd name="connsiteX4" fmla="*/ 0 w 6723847"/>
              <a:gd name="connsiteY4" fmla="*/ 0 h 792088"/>
              <a:gd name="connsiteX0" fmla="*/ 0 w 6731291"/>
              <a:gd name="connsiteY0" fmla="*/ 0 h 792088"/>
              <a:gd name="connsiteX1" fmla="*/ 6731291 w 6731291"/>
              <a:gd name="connsiteY1" fmla="*/ 19023 h 792088"/>
              <a:gd name="connsiteX2" fmla="*/ 6723847 w 6731291"/>
              <a:gd name="connsiteY2" fmla="*/ 792088 h 792088"/>
              <a:gd name="connsiteX3" fmla="*/ 0 w 6731291"/>
              <a:gd name="connsiteY3" fmla="*/ 792088 h 792088"/>
              <a:gd name="connsiteX4" fmla="*/ 0 w 6731291"/>
              <a:gd name="connsiteY4" fmla="*/ 0 h 79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31291" h="792088">
                <a:moveTo>
                  <a:pt x="0" y="0"/>
                </a:moveTo>
                <a:lnTo>
                  <a:pt x="6731291" y="19023"/>
                </a:lnTo>
                <a:cubicBezTo>
                  <a:pt x="6728810" y="276711"/>
                  <a:pt x="6726328" y="534400"/>
                  <a:pt x="6723847" y="792088"/>
                </a:cubicBezTo>
                <a:lnTo>
                  <a:pt x="0" y="79208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  <a:shade val="30000"/>
                  <a:satMod val="115000"/>
                </a:schemeClr>
              </a:gs>
              <a:gs pos="50000">
                <a:schemeClr val="tx2">
                  <a:lumMod val="75000"/>
                  <a:shade val="67500"/>
                  <a:satMod val="115000"/>
                </a:schemeClr>
              </a:gs>
              <a:gs pos="100000">
                <a:schemeClr val="tx2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107504" y="180750"/>
            <a:ext cx="9001000" cy="654513"/>
          </a:xfrm>
          <a:ln>
            <a:miter lim="800000"/>
            <a:headEnd/>
            <a:tailEnd/>
          </a:ln>
          <a:extLst/>
        </p:spPr>
        <p:txBody>
          <a:bodyPr rtlCol="0" anchor="t">
            <a:no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100" b="1" spc="-151" dirty="0" smtClean="0">
                <a:ln w="11430"/>
                <a:solidFill>
                  <a:srgbClr val="F8F8F8"/>
                </a:solidFill>
                <a:latin typeface="Rockwell" panose="02060603020205020403" pitchFamily="18" charset="0"/>
              </a:rPr>
              <a:t>Bi-Quadratic</a:t>
            </a:r>
            <a:endParaRPr lang="en-US" sz="3100" b="1" spc="-151" dirty="0">
              <a:ln w="11430"/>
              <a:solidFill>
                <a:srgbClr val="F8F8F8"/>
              </a:solidFill>
              <a:latin typeface="Rockwell" panose="02060603020205020403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745" y="917765"/>
            <a:ext cx="6790509" cy="594023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/>
              <p:cNvSpPr txBox="1"/>
              <p:nvPr/>
            </p:nvSpPr>
            <p:spPr>
              <a:xfrm>
                <a:off x="1164541" y="1177091"/>
                <a:ext cx="6772176" cy="669158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𝑧</m:t>
                    </m:r>
                    <m:d>
                      <m:dPr>
                        <m:ctrlPr>
                          <a:rPr lang="pt-BR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pt-BR" i="1" smtClean="0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</m:d>
                    <m:r>
                      <a:rPr lang="pt-BR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pt-BR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t-BR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pt-BR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b="0" i="0" smtClean="0">
                        <a:latin typeface="Cambria Math" panose="02040503050406030204" pitchFamily="18" charset="0"/>
                      </a:rPr>
                      <m:t>x</m:t>
                    </m:r>
                    <m:r>
                      <a:rPr lang="en-US" b="0" i="0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b="0" i="0" smtClean="0">
                        <a:latin typeface="Cambria Math" panose="02040503050406030204" pitchFamily="18" charset="0"/>
                      </a:rPr>
                      <m:t>y</m:t>
                    </m:r>
                    <m:r>
                      <a:rPr lang="en-US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en-US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>
                        <a:latin typeface="Cambria Math" panose="02040503050406030204" pitchFamily="18" charset="0"/>
                      </a:rPr>
                      <m:t>x</m:t>
                    </m:r>
                    <m:r>
                      <a:rPr lang="en-US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b="0" i="0" smtClean="0">
                        <a:latin typeface="Cambria Math" panose="02040503050406030204" pitchFamily="18" charset="0"/>
                      </a:rPr>
                      <m:t>y</m:t>
                    </m:r>
                    <m:r>
                      <a:rPr lang="en-US" b="0" i="0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4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en-US" b="0" i="0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5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en-US" b="0" i="0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6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en-US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7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en-US" b="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𝑦</m:t>
                    </m:r>
                  </m:oMath>
                </a14:m>
                <a:r>
                  <a:rPr lang="en-US" dirty="0" smtClean="0"/>
                  <a:t> </a:t>
                </a:r>
                <a14:m>
                  <m:oMath xmlns:m="http://schemas.openxmlformats.org/officeDocument/2006/math">
                    <m:r>
                      <a:rPr lang="en-US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8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𝑥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10" name="TextBox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64541" y="1177091"/>
                <a:ext cx="6772176" cy="669158"/>
              </a:xfrm>
              <a:prstGeom prst="rect">
                <a:avLst/>
              </a:prstGeom>
              <a:blipFill rotWithShape="0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64899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 advTm="2968">
        <p:fade/>
      </p:transition>
    </mc:Choice>
    <mc:Fallback xmlns="">
      <p:transition advClick="0" advTm="296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48"/>
          <p:cNvGrpSpPr>
            <a:grpSpLocks/>
          </p:cNvGrpSpPr>
          <p:nvPr/>
        </p:nvGrpSpPr>
        <p:grpSpPr bwMode="auto">
          <a:xfrm>
            <a:off x="0" y="-14288"/>
            <a:ext cx="9144000" cy="6872288"/>
            <a:chOff x="0" y="-14263"/>
            <a:chExt cx="9144000" cy="6872263"/>
          </a:xfrm>
        </p:grpSpPr>
        <p:sp>
          <p:nvSpPr>
            <p:cNvPr id="50" name="Rectangle 49"/>
            <p:cNvSpPr/>
            <p:nvPr/>
          </p:nvSpPr>
          <p:spPr>
            <a:xfrm>
              <a:off x="0" y="-14263"/>
              <a:ext cx="9144000" cy="687226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0" y="68239"/>
              <a:ext cx="9144000" cy="6789761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95000"/>
                    <a:lumOff val="5000"/>
                  </a:schemeClr>
                </a:gs>
                <a:gs pos="0">
                  <a:schemeClr val="tx1">
                    <a:lumMod val="65000"/>
                    <a:lumOff val="3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glow>
                <a:schemeClr val="tx1">
                  <a:alpha val="0"/>
                </a:schemeClr>
              </a:glow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5" name="Rectangle 24"/>
          <p:cNvSpPr/>
          <p:nvPr/>
        </p:nvSpPr>
        <p:spPr>
          <a:xfrm>
            <a:off x="233011" y="620692"/>
            <a:ext cx="8677989" cy="5876781"/>
          </a:xfrm>
          <a:prstGeom prst="rect">
            <a:avLst/>
          </a:prstGeom>
          <a:solidFill>
            <a:schemeClr val="tx1">
              <a:alpha val="21961"/>
            </a:schemeClr>
          </a:solidFill>
          <a:ln>
            <a:noFill/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0" y="-14288"/>
            <a:ext cx="9144000" cy="6872289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87000"/>
                </a:schemeClr>
              </a:gs>
              <a:gs pos="13000">
                <a:schemeClr val="bg1"/>
              </a:gs>
            </a:gsLst>
            <a:lin ang="5400000" scaled="1"/>
            <a:tileRect/>
          </a:gradFill>
          <a:ln w="12700">
            <a:solidFill>
              <a:schemeClr val="bg1">
                <a:lumMod val="65000"/>
              </a:schemeClr>
            </a:solidFill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Freeform 15"/>
          <p:cNvSpPr/>
          <p:nvPr/>
        </p:nvSpPr>
        <p:spPr>
          <a:xfrm>
            <a:off x="0" y="-14289"/>
            <a:ext cx="9144000" cy="936104"/>
          </a:xfrm>
          <a:custGeom>
            <a:avLst/>
            <a:gdLst>
              <a:gd name="connsiteX0" fmla="*/ 0 w 7435339"/>
              <a:gd name="connsiteY0" fmla="*/ 0 h 792088"/>
              <a:gd name="connsiteX1" fmla="*/ 7435339 w 7435339"/>
              <a:gd name="connsiteY1" fmla="*/ 0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7723371"/>
              <a:gd name="connsiteY0" fmla="*/ 0 h 792088"/>
              <a:gd name="connsiteX1" fmla="*/ 7723371 w 7723371"/>
              <a:gd name="connsiteY1" fmla="*/ 19023 h 792088"/>
              <a:gd name="connsiteX2" fmla="*/ 7435339 w 7723371"/>
              <a:gd name="connsiteY2" fmla="*/ 792088 h 792088"/>
              <a:gd name="connsiteX3" fmla="*/ 0 w 7723371"/>
              <a:gd name="connsiteY3" fmla="*/ 792088 h 792088"/>
              <a:gd name="connsiteX4" fmla="*/ 0 w 7723371"/>
              <a:gd name="connsiteY4" fmla="*/ 0 h 792088"/>
              <a:gd name="connsiteX0" fmla="*/ 0 w 7435339"/>
              <a:gd name="connsiteY0" fmla="*/ 0 h 792088"/>
              <a:gd name="connsiteX1" fmla="*/ 6701228 w 7435339"/>
              <a:gd name="connsiteY1" fmla="*/ 19023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6723847"/>
              <a:gd name="connsiteY0" fmla="*/ 0 h 792088"/>
              <a:gd name="connsiteX1" fmla="*/ 6701228 w 6723847"/>
              <a:gd name="connsiteY1" fmla="*/ 19023 h 792088"/>
              <a:gd name="connsiteX2" fmla="*/ 6723847 w 6723847"/>
              <a:gd name="connsiteY2" fmla="*/ 792088 h 792088"/>
              <a:gd name="connsiteX3" fmla="*/ 0 w 6723847"/>
              <a:gd name="connsiteY3" fmla="*/ 792088 h 792088"/>
              <a:gd name="connsiteX4" fmla="*/ 0 w 6723847"/>
              <a:gd name="connsiteY4" fmla="*/ 0 h 792088"/>
              <a:gd name="connsiteX0" fmla="*/ 0 w 6731291"/>
              <a:gd name="connsiteY0" fmla="*/ 0 h 792088"/>
              <a:gd name="connsiteX1" fmla="*/ 6731291 w 6731291"/>
              <a:gd name="connsiteY1" fmla="*/ 19023 h 792088"/>
              <a:gd name="connsiteX2" fmla="*/ 6723847 w 6731291"/>
              <a:gd name="connsiteY2" fmla="*/ 792088 h 792088"/>
              <a:gd name="connsiteX3" fmla="*/ 0 w 6731291"/>
              <a:gd name="connsiteY3" fmla="*/ 792088 h 792088"/>
              <a:gd name="connsiteX4" fmla="*/ 0 w 6731291"/>
              <a:gd name="connsiteY4" fmla="*/ 0 h 79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31291" h="792088">
                <a:moveTo>
                  <a:pt x="0" y="0"/>
                </a:moveTo>
                <a:lnTo>
                  <a:pt x="6731291" y="19023"/>
                </a:lnTo>
                <a:cubicBezTo>
                  <a:pt x="6728810" y="276711"/>
                  <a:pt x="6726328" y="534400"/>
                  <a:pt x="6723847" y="792088"/>
                </a:cubicBezTo>
                <a:lnTo>
                  <a:pt x="0" y="79208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  <a:shade val="30000"/>
                  <a:satMod val="115000"/>
                </a:schemeClr>
              </a:gs>
              <a:gs pos="50000">
                <a:schemeClr val="tx2">
                  <a:lumMod val="75000"/>
                  <a:shade val="67500"/>
                  <a:satMod val="115000"/>
                </a:schemeClr>
              </a:gs>
              <a:gs pos="100000">
                <a:schemeClr val="tx2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107504" y="180750"/>
            <a:ext cx="9001000" cy="654513"/>
          </a:xfrm>
          <a:ln>
            <a:miter lim="800000"/>
            <a:headEnd/>
            <a:tailEnd/>
          </a:ln>
          <a:extLst/>
        </p:spPr>
        <p:txBody>
          <a:bodyPr rtlCol="0" anchor="t">
            <a:no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100" b="1" spc="-151" dirty="0" smtClean="0">
                <a:ln w="11430"/>
                <a:solidFill>
                  <a:srgbClr val="F8F8F8"/>
                </a:solidFill>
                <a:latin typeface="Rockwell" panose="02060603020205020403" pitchFamily="18" charset="0"/>
              </a:rPr>
              <a:t>Bi-Cubic</a:t>
            </a:r>
            <a:endParaRPr lang="en-US" sz="3100" b="1" spc="-151" dirty="0">
              <a:ln w="11430"/>
              <a:solidFill>
                <a:srgbClr val="F8F8F8"/>
              </a:solidFill>
              <a:latin typeface="Rockwell" panose="02060603020205020403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2" y="1268760"/>
            <a:ext cx="6790509" cy="594023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/>
              <p:cNvSpPr txBox="1"/>
              <p:nvPr/>
            </p:nvSpPr>
            <p:spPr>
              <a:xfrm>
                <a:off x="1277965" y="917764"/>
                <a:ext cx="6772176" cy="922497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𝑧</m:t>
                    </m:r>
                    <m:d>
                      <m:dPr>
                        <m:ctrlPr>
                          <a:rPr lang="pt-BR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pt-BR" i="1" smtClean="0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</m:d>
                    <m:r>
                      <a:rPr lang="pt-BR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pt-BR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t-BR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pt-BR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b="0" i="0" smtClean="0">
                        <a:latin typeface="Cambria Math" panose="02040503050406030204" pitchFamily="18" charset="0"/>
                      </a:rPr>
                      <m:t>x</m:t>
                    </m:r>
                    <m:r>
                      <a:rPr lang="en-US" b="0" i="0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b="0" i="0" smtClean="0">
                        <a:latin typeface="Cambria Math" panose="02040503050406030204" pitchFamily="18" charset="0"/>
                      </a:rPr>
                      <m:t>y</m:t>
                    </m:r>
                    <m:r>
                      <a:rPr lang="en-US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en-US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>
                        <a:latin typeface="Cambria Math" panose="02040503050406030204" pitchFamily="18" charset="0"/>
                      </a:rPr>
                      <m:t>x</m:t>
                    </m:r>
                    <m:r>
                      <a:rPr lang="en-US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b="0" i="0" smtClean="0">
                        <a:latin typeface="Cambria Math" panose="02040503050406030204" pitchFamily="18" charset="0"/>
                      </a:rPr>
                      <m:t>y</m:t>
                    </m:r>
                    <m:r>
                      <a:rPr lang="en-US" b="0" i="0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4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en-US" b="0" i="0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5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en-US" b="0" i="0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6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en-US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7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en-US" b="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𝑦</m:t>
                    </m:r>
                  </m:oMath>
                </a14:m>
                <a:r>
                  <a:rPr lang="en-US" dirty="0" smtClean="0"/>
                  <a:t> </a:t>
                </a:r>
                <a14:m>
                  <m:oMath xmlns:m="http://schemas.openxmlformats.org/officeDocument/2006/math">
                    <m:r>
                      <a:rPr lang="en-US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8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𝑥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en-US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9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  <m:r>
                      <a:rPr lang="en-US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0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  <m:r>
                      <a:rPr lang="en-US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  <m:r>
                      <a:rPr lang="en-US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2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en-US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sSub>
                          <m:sSubPr>
                            <m:ctrlPr>
                              <a:rPr lang="pt-BR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1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  <m:r>
                      <a:rPr lang="en-US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4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  <m:r>
                      <m:rPr>
                        <m:sty m:val="p"/>
                      </m:rPr>
                      <a:rPr lang="en-US" b="0" i="0" smtClean="0">
                        <a:latin typeface="Cambria Math" panose="02040503050406030204" pitchFamily="18" charset="0"/>
                      </a:rPr>
                      <m:t>y</m:t>
                    </m:r>
                    <m:r>
                      <a:rPr lang="en-US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5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𝑥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10" name="TextBox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77965" y="917764"/>
                <a:ext cx="6772176" cy="922497"/>
              </a:xfrm>
              <a:prstGeom prst="rect">
                <a:avLst/>
              </a:prstGeom>
              <a:blipFill rotWithShape="0">
                <a:blip r:embed="rId4"/>
                <a:stretch>
                  <a:fillRect b="-198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17092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 advTm="2968">
        <p:fade/>
      </p:transition>
    </mc:Choice>
    <mc:Fallback xmlns="">
      <p:transition advClick="0" advTm="296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48"/>
          <p:cNvGrpSpPr>
            <a:grpSpLocks/>
          </p:cNvGrpSpPr>
          <p:nvPr/>
        </p:nvGrpSpPr>
        <p:grpSpPr bwMode="auto">
          <a:xfrm>
            <a:off x="0" y="-14288"/>
            <a:ext cx="9144000" cy="6872288"/>
            <a:chOff x="0" y="-14263"/>
            <a:chExt cx="9144000" cy="6872263"/>
          </a:xfrm>
        </p:grpSpPr>
        <p:sp>
          <p:nvSpPr>
            <p:cNvPr id="50" name="Rectangle 49"/>
            <p:cNvSpPr/>
            <p:nvPr/>
          </p:nvSpPr>
          <p:spPr>
            <a:xfrm>
              <a:off x="0" y="-14263"/>
              <a:ext cx="9144000" cy="687226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0" y="68239"/>
              <a:ext cx="9144000" cy="6789761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95000"/>
                    <a:lumOff val="5000"/>
                  </a:schemeClr>
                </a:gs>
                <a:gs pos="0">
                  <a:schemeClr val="tx1">
                    <a:lumMod val="65000"/>
                    <a:lumOff val="3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glow>
                <a:schemeClr val="tx1">
                  <a:alpha val="0"/>
                </a:schemeClr>
              </a:glow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5" name="Rectangle 24"/>
          <p:cNvSpPr/>
          <p:nvPr/>
        </p:nvSpPr>
        <p:spPr>
          <a:xfrm>
            <a:off x="233011" y="620692"/>
            <a:ext cx="8677989" cy="5876781"/>
          </a:xfrm>
          <a:prstGeom prst="rect">
            <a:avLst/>
          </a:prstGeom>
          <a:solidFill>
            <a:schemeClr val="tx1">
              <a:alpha val="21961"/>
            </a:schemeClr>
          </a:solidFill>
          <a:ln>
            <a:noFill/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0" y="-14288"/>
            <a:ext cx="9144000" cy="6872289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87000"/>
                </a:schemeClr>
              </a:gs>
              <a:gs pos="13000">
                <a:schemeClr val="bg1"/>
              </a:gs>
            </a:gsLst>
            <a:lin ang="5400000" scaled="1"/>
            <a:tileRect/>
          </a:gradFill>
          <a:ln w="12700">
            <a:solidFill>
              <a:schemeClr val="bg1">
                <a:lumMod val="65000"/>
              </a:schemeClr>
            </a:solidFill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Freeform 15"/>
          <p:cNvSpPr/>
          <p:nvPr/>
        </p:nvSpPr>
        <p:spPr>
          <a:xfrm>
            <a:off x="0" y="-14289"/>
            <a:ext cx="9144000" cy="936104"/>
          </a:xfrm>
          <a:custGeom>
            <a:avLst/>
            <a:gdLst>
              <a:gd name="connsiteX0" fmla="*/ 0 w 7435339"/>
              <a:gd name="connsiteY0" fmla="*/ 0 h 792088"/>
              <a:gd name="connsiteX1" fmla="*/ 7435339 w 7435339"/>
              <a:gd name="connsiteY1" fmla="*/ 0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7723371"/>
              <a:gd name="connsiteY0" fmla="*/ 0 h 792088"/>
              <a:gd name="connsiteX1" fmla="*/ 7723371 w 7723371"/>
              <a:gd name="connsiteY1" fmla="*/ 19023 h 792088"/>
              <a:gd name="connsiteX2" fmla="*/ 7435339 w 7723371"/>
              <a:gd name="connsiteY2" fmla="*/ 792088 h 792088"/>
              <a:gd name="connsiteX3" fmla="*/ 0 w 7723371"/>
              <a:gd name="connsiteY3" fmla="*/ 792088 h 792088"/>
              <a:gd name="connsiteX4" fmla="*/ 0 w 7723371"/>
              <a:gd name="connsiteY4" fmla="*/ 0 h 792088"/>
              <a:gd name="connsiteX0" fmla="*/ 0 w 7435339"/>
              <a:gd name="connsiteY0" fmla="*/ 0 h 792088"/>
              <a:gd name="connsiteX1" fmla="*/ 6701228 w 7435339"/>
              <a:gd name="connsiteY1" fmla="*/ 19023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6723847"/>
              <a:gd name="connsiteY0" fmla="*/ 0 h 792088"/>
              <a:gd name="connsiteX1" fmla="*/ 6701228 w 6723847"/>
              <a:gd name="connsiteY1" fmla="*/ 19023 h 792088"/>
              <a:gd name="connsiteX2" fmla="*/ 6723847 w 6723847"/>
              <a:gd name="connsiteY2" fmla="*/ 792088 h 792088"/>
              <a:gd name="connsiteX3" fmla="*/ 0 w 6723847"/>
              <a:gd name="connsiteY3" fmla="*/ 792088 h 792088"/>
              <a:gd name="connsiteX4" fmla="*/ 0 w 6723847"/>
              <a:gd name="connsiteY4" fmla="*/ 0 h 792088"/>
              <a:gd name="connsiteX0" fmla="*/ 0 w 6731291"/>
              <a:gd name="connsiteY0" fmla="*/ 0 h 792088"/>
              <a:gd name="connsiteX1" fmla="*/ 6731291 w 6731291"/>
              <a:gd name="connsiteY1" fmla="*/ 19023 h 792088"/>
              <a:gd name="connsiteX2" fmla="*/ 6723847 w 6731291"/>
              <a:gd name="connsiteY2" fmla="*/ 792088 h 792088"/>
              <a:gd name="connsiteX3" fmla="*/ 0 w 6731291"/>
              <a:gd name="connsiteY3" fmla="*/ 792088 h 792088"/>
              <a:gd name="connsiteX4" fmla="*/ 0 w 6731291"/>
              <a:gd name="connsiteY4" fmla="*/ 0 h 79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31291" h="792088">
                <a:moveTo>
                  <a:pt x="0" y="0"/>
                </a:moveTo>
                <a:lnTo>
                  <a:pt x="6731291" y="19023"/>
                </a:lnTo>
                <a:cubicBezTo>
                  <a:pt x="6728810" y="276711"/>
                  <a:pt x="6726328" y="534400"/>
                  <a:pt x="6723847" y="792088"/>
                </a:cubicBezTo>
                <a:lnTo>
                  <a:pt x="0" y="79208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  <a:shade val="30000"/>
                  <a:satMod val="115000"/>
                </a:schemeClr>
              </a:gs>
              <a:gs pos="50000">
                <a:schemeClr val="tx2">
                  <a:lumMod val="75000"/>
                  <a:shade val="67500"/>
                  <a:satMod val="115000"/>
                </a:schemeClr>
              </a:gs>
              <a:gs pos="100000">
                <a:schemeClr val="tx2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71500" y="68213"/>
            <a:ext cx="9001000" cy="785819"/>
          </a:xfrm>
          <a:ln>
            <a:miter lim="800000"/>
            <a:headEnd/>
            <a:tailEnd/>
          </a:ln>
          <a:extLst/>
        </p:spPr>
        <p:txBody>
          <a:bodyPr rtlCol="0" anchor="t">
            <a:no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spc="-151" dirty="0" smtClean="0">
                <a:ln w="11430"/>
                <a:solidFill>
                  <a:srgbClr val="F8F8F8"/>
                </a:solidFill>
                <a:latin typeface="Rockwell" panose="02060603020205020403" pitchFamily="18" charset="0"/>
              </a:rPr>
              <a:t>Dataset an Study Area</a:t>
            </a:r>
            <a:endParaRPr lang="en-US" sz="3200" b="1" spc="-151" dirty="0">
              <a:ln w="11430"/>
              <a:solidFill>
                <a:srgbClr val="F8F8F8"/>
              </a:solidFill>
              <a:latin typeface="Rockwell" panose="02060603020205020403" pitchFamily="18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6" y="4941168"/>
            <a:ext cx="2286000" cy="186283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1032" y="4929823"/>
            <a:ext cx="2286000" cy="188355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5816" y="4933780"/>
            <a:ext cx="2286000" cy="187021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8208" y="4941169"/>
            <a:ext cx="2286000" cy="187220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4352" y="4947547"/>
            <a:ext cx="2286000" cy="186582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7582" y="4929822"/>
            <a:ext cx="2286000" cy="188355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1" name="TextBox 20"/>
          <p:cNvSpPr txBox="1"/>
          <p:nvPr/>
        </p:nvSpPr>
        <p:spPr>
          <a:xfrm>
            <a:off x="74476" y="4959740"/>
            <a:ext cx="7531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C00000"/>
                </a:solidFill>
              </a:rPr>
              <a:t>3m</a:t>
            </a:r>
            <a:endParaRPr lang="en-US" sz="2400" dirty="0">
              <a:solidFill>
                <a:srgbClr val="C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488994" y="4941168"/>
            <a:ext cx="7531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C00000"/>
                </a:solidFill>
              </a:rPr>
              <a:t>10m</a:t>
            </a:r>
            <a:endParaRPr lang="en-US" sz="2400" dirty="0">
              <a:solidFill>
                <a:srgbClr val="C0000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008548" y="4962867"/>
            <a:ext cx="7531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C00000"/>
                </a:solidFill>
              </a:rPr>
              <a:t>30m</a:t>
            </a:r>
            <a:endParaRPr lang="en-US" sz="2400" dirty="0">
              <a:solidFill>
                <a:srgbClr val="C00000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231450" y="4965378"/>
            <a:ext cx="9703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C00000"/>
                </a:solidFill>
              </a:rPr>
              <a:t>100m</a:t>
            </a:r>
            <a:endParaRPr lang="en-US" sz="2400" dirty="0">
              <a:solidFill>
                <a:srgbClr val="C0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483496" y="4940773"/>
            <a:ext cx="10803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C00000"/>
                </a:solidFill>
              </a:rPr>
              <a:t>1000m</a:t>
            </a:r>
            <a:endParaRPr lang="en-US" sz="2400" dirty="0">
              <a:solidFill>
                <a:srgbClr val="C0000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962419" y="4947545"/>
            <a:ext cx="11764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C00000"/>
                </a:solidFill>
              </a:rPr>
              <a:t>5000m</a:t>
            </a:r>
            <a:endParaRPr lang="en-US" sz="2400" dirty="0">
              <a:solidFill>
                <a:srgbClr val="C0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2" y="928193"/>
            <a:ext cx="9144000" cy="3933846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331640" y="1916832"/>
            <a:ext cx="1368152" cy="100811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899592" y="2564904"/>
            <a:ext cx="792088" cy="2592288"/>
          </a:xfrm>
          <a:prstGeom prst="line">
            <a:avLst/>
          </a:prstGeom>
          <a:ln w="2857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6754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 advTm="2968">
        <p:fade/>
      </p:transition>
    </mc:Choice>
    <mc:Fallback xmlns="">
      <p:transition advClick="0" advTm="296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48"/>
          <p:cNvGrpSpPr>
            <a:grpSpLocks/>
          </p:cNvGrpSpPr>
          <p:nvPr/>
        </p:nvGrpSpPr>
        <p:grpSpPr bwMode="auto">
          <a:xfrm>
            <a:off x="0" y="-14288"/>
            <a:ext cx="9144000" cy="6872288"/>
            <a:chOff x="0" y="-14263"/>
            <a:chExt cx="9144000" cy="6872263"/>
          </a:xfrm>
        </p:grpSpPr>
        <p:sp>
          <p:nvSpPr>
            <p:cNvPr id="50" name="Rectangle 49"/>
            <p:cNvSpPr/>
            <p:nvPr/>
          </p:nvSpPr>
          <p:spPr>
            <a:xfrm>
              <a:off x="0" y="-14263"/>
              <a:ext cx="9144000" cy="687226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0" y="68239"/>
              <a:ext cx="9144000" cy="6789761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95000"/>
                    <a:lumOff val="5000"/>
                  </a:schemeClr>
                </a:gs>
                <a:gs pos="0">
                  <a:schemeClr val="tx1">
                    <a:lumMod val="65000"/>
                    <a:lumOff val="3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glow>
                <a:schemeClr val="tx1">
                  <a:alpha val="0"/>
                </a:schemeClr>
              </a:glow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5" name="Rectangle 24"/>
          <p:cNvSpPr/>
          <p:nvPr/>
        </p:nvSpPr>
        <p:spPr>
          <a:xfrm>
            <a:off x="233011" y="620692"/>
            <a:ext cx="8677989" cy="5876781"/>
          </a:xfrm>
          <a:prstGeom prst="rect">
            <a:avLst/>
          </a:prstGeom>
          <a:solidFill>
            <a:schemeClr val="tx1">
              <a:alpha val="21961"/>
            </a:schemeClr>
          </a:solidFill>
          <a:ln>
            <a:noFill/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-7410" y="-7145"/>
            <a:ext cx="9144000" cy="6872289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87000"/>
                </a:schemeClr>
              </a:gs>
              <a:gs pos="13000">
                <a:schemeClr val="bg1"/>
              </a:gs>
            </a:gsLst>
            <a:lin ang="5400000" scaled="1"/>
            <a:tileRect/>
          </a:gradFill>
          <a:ln w="12700">
            <a:solidFill>
              <a:schemeClr val="bg1">
                <a:lumMod val="65000"/>
              </a:schemeClr>
            </a:solidFill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0" name="Freeform 29"/>
          <p:cNvSpPr/>
          <p:nvPr/>
        </p:nvSpPr>
        <p:spPr>
          <a:xfrm>
            <a:off x="0" y="-14289"/>
            <a:ext cx="9144000" cy="936104"/>
          </a:xfrm>
          <a:custGeom>
            <a:avLst/>
            <a:gdLst>
              <a:gd name="connsiteX0" fmla="*/ 0 w 7435339"/>
              <a:gd name="connsiteY0" fmla="*/ 0 h 792088"/>
              <a:gd name="connsiteX1" fmla="*/ 7435339 w 7435339"/>
              <a:gd name="connsiteY1" fmla="*/ 0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7723371"/>
              <a:gd name="connsiteY0" fmla="*/ 0 h 792088"/>
              <a:gd name="connsiteX1" fmla="*/ 7723371 w 7723371"/>
              <a:gd name="connsiteY1" fmla="*/ 19023 h 792088"/>
              <a:gd name="connsiteX2" fmla="*/ 7435339 w 7723371"/>
              <a:gd name="connsiteY2" fmla="*/ 792088 h 792088"/>
              <a:gd name="connsiteX3" fmla="*/ 0 w 7723371"/>
              <a:gd name="connsiteY3" fmla="*/ 792088 h 792088"/>
              <a:gd name="connsiteX4" fmla="*/ 0 w 7723371"/>
              <a:gd name="connsiteY4" fmla="*/ 0 h 792088"/>
              <a:gd name="connsiteX0" fmla="*/ 0 w 7435339"/>
              <a:gd name="connsiteY0" fmla="*/ 0 h 792088"/>
              <a:gd name="connsiteX1" fmla="*/ 6701228 w 7435339"/>
              <a:gd name="connsiteY1" fmla="*/ 19023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6723847"/>
              <a:gd name="connsiteY0" fmla="*/ 0 h 792088"/>
              <a:gd name="connsiteX1" fmla="*/ 6701228 w 6723847"/>
              <a:gd name="connsiteY1" fmla="*/ 19023 h 792088"/>
              <a:gd name="connsiteX2" fmla="*/ 6723847 w 6723847"/>
              <a:gd name="connsiteY2" fmla="*/ 792088 h 792088"/>
              <a:gd name="connsiteX3" fmla="*/ 0 w 6723847"/>
              <a:gd name="connsiteY3" fmla="*/ 792088 h 792088"/>
              <a:gd name="connsiteX4" fmla="*/ 0 w 6723847"/>
              <a:gd name="connsiteY4" fmla="*/ 0 h 792088"/>
              <a:gd name="connsiteX0" fmla="*/ 0 w 6731291"/>
              <a:gd name="connsiteY0" fmla="*/ 0 h 792088"/>
              <a:gd name="connsiteX1" fmla="*/ 6731291 w 6731291"/>
              <a:gd name="connsiteY1" fmla="*/ 19023 h 792088"/>
              <a:gd name="connsiteX2" fmla="*/ 6723847 w 6731291"/>
              <a:gd name="connsiteY2" fmla="*/ 792088 h 792088"/>
              <a:gd name="connsiteX3" fmla="*/ 0 w 6731291"/>
              <a:gd name="connsiteY3" fmla="*/ 792088 h 792088"/>
              <a:gd name="connsiteX4" fmla="*/ 0 w 6731291"/>
              <a:gd name="connsiteY4" fmla="*/ 0 h 79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31291" h="792088">
                <a:moveTo>
                  <a:pt x="0" y="0"/>
                </a:moveTo>
                <a:lnTo>
                  <a:pt x="6731291" y="19023"/>
                </a:lnTo>
                <a:cubicBezTo>
                  <a:pt x="6728810" y="276711"/>
                  <a:pt x="6726328" y="534400"/>
                  <a:pt x="6723847" y="792088"/>
                </a:cubicBezTo>
                <a:lnTo>
                  <a:pt x="0" y="79208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  <a:shade val="30000"/>
                  <a:satMod val="115000"/>
                </a:schemeClr>
              </a:gs>
              <a:gs pos="50000">
                <a:schemeClr val="tx2">
                  <a:lumMod val="75000"/>
                  <a:shade val="67500"/>
                  <a:satMod val="115000"/>
                </a:schemeClr>
              </a:gs>
              <a:gs pos="100000">
                <a:schemeClr val="tx2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1" name="Title 1"/>
          <p:cNvSpPr txBox="1">
            <a:spLocks/>
          </p:cNvSpPr>
          <p:nvPr/>
        </p:nvSpPr>
        <p:spPr bwMode="auto">
          <a:xfrm>
            <a:off x="71500" y="68213"/>
            <a:ext cx="9001000" cy="785819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178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354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532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709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kern="0" spc="-151" dirty="0" smtClean="0">
                <a:ln w="11430"/>
                <a:solidFill>
                  <a:srgbClr val="F8F8F8"/>
                </a:solidFill>
                <a:latin typeface="Rockwell" panose="02060603020205020403" pitchFamily="18" charset="0"/>
              </a:rPr>
              <a:t>Code</a:t>
            </a:r>
            <a:endParaRPr lang="en-US" sz="3200" b="1" kern="0" spc="-151" dirty="0">
              <a:ln w="11430"/>
              <a:solidFill>
                <a:srgbClr val="F8F8F8"/>
              </a:solidFill>
              <a:latin typeface="Rockwell" panose="02060603020205020403" pitchFamily="18" charset="0"/>
            </a:endParaRPr>
          </a:p>
        </p:txBody>
      </p:sp>
      <p:sp>
        <p:nvSpPr>
          <p:cNvPr id="21" name="Subtitle 2"/>
          <p:cNvSpPr txBox="1">
            <a:spLocks/>
          </p:cNvSpPr>
          <p:nvPr/>
        </p:nvSpPr>
        <p:spPr bwMode="auto">
          <a:xfrm>
            <a:off x="179512" y="1124743"/>
            <a:ext cx="8712968" cy="5328593"/>
          </a:xfrm>
          <a:prstGeom prst="rect">
            <a:avLst/>
          </a:prstGeom>
          <a:ln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32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  <a:lvl2pPr marL="457178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8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2pPr>
            <a:lvl3pPr marL="914354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3pPr>
            <a:lvl4pPr marL="1371532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4pPr>
            <a:lvl5pPr marL="1828709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5pPr>
            <a:lvl6pPr marL="2285886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6pPr>
            <a:lvl7pPr marL="2743062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7pPr>
            <a:lvl8pPr marL="320024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8pPr>
            <a:lvl9pPr marL="3657418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9pPr>
          </a:lstStyle>
          <a:p>
            <a:pPr marL="0" lvl="1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quire: DEMs, Transects</a:t>
            </a:r>
          </a:p>
          <a:p>
            <a:pPr marL="0" lvl="1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 </a:t>
            </a:r>
            <a:r>
              <a:rPr lang="en-US" sz="3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ll Transects do</a:t>
            </a:r>
          </a:p>
          <a:p>
            <a:pPr marL="0" lvl="1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Module1(create </a:t>
            </a:r>
            <a:r>
              <a:rPr lang="en-US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mples)</a:t>
            </a:r>
          </a:p>
          <a:p>
            <a:pPr marL="0" lvl="1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For </a:t>
            </a:r>
            <a:r>
              <a:rPr lang="en-US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ll DMEs(resolutions) do</a:t>
            </a:r>
          </a:p>
          <a:p>
            <a:pPr marL="0" lvl="1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3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2500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ule2(Surface </a:t>
            </a:r>
            <a:r>
              <a:rPr lang="en-US" sz="2500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justed Distance)</a:t>
            </a:r>
          </a:p>
          <a:p>
            <a:pPr marL="457176" lvl="2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	Function1(Pixel </a:t>
            </a:r>
            <a:r>
              <a:rPr lang="en-US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Pixel)</a:t>
            </a:r>
          </a:p>
          <a:p>
            <a:pPr marL="457176" lvl="2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	Function2(Arc </a:t>
            </a:r>
            <a:r>
              <a:rPr lang="en-US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"Add surface </a:t>
            </a:r>
            <a:r>
              <a:rPr lang="en-US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formation" </a:t>
            </a:r>
            <a:r>
              <a:rPr lang="en-US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ol)</a:t>
            </a:r>
          </a:p>
          <a:p>
            <a:pPr marL="457176" lvl="2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 </a:t>
            </a:r>
            <a:r>
              <a:rPr lang="en-US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	Function3(Sample-based </a:t>
            </a:r>
            <a:r>
              <a:rPr lang="en-US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thods)</a:t>
            </a:r>
          </a:p>
          <a:p>
            <a:pPr marL="457176" lvl="2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	</a:t>
            </a:r>
            <a:r>
              <a:rPr lang="en-US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		</a:t>
            </a:r>
            <a:r>
              <a:rPr lang="en-US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ule3(Inverse </a:t>
            </a:r>
            <a:r>
              <a:rPr lang="en-US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stance Weighting)</a:t>
            </a:r>
          </a:p>
          <a:p>
            <a:pPr marL="457176" lvl="2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	</a:t>
            </a:r>
            <a:r>
              <a:rPr lang="en-US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ule4(Polynomial </a:t>
            </a:r>
            <a:r>
              <a:rPr lang="en-US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rpolation)</a:t>
            </a:r>
          </a:p>
          <a:p>
            <a:pPr marL="0" lvl="1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3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d For</a:t>
            </a:r>
            <a:endParaRPr lang="en-US" sz="32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1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d For</a:t>
            </a:r>
            <a:endParaRPr lang="en-US" sz="2000" kern="0" spc="-150" dirty="0" smtClean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14400" lvl="1" indent="-457200" algn="l" eaLnBrk="1" fontAlgn="auto" hangingPunct="1">
              <a:spcBef>
                <a:spcPts val="0"/>
              </a:spcBef>
              <a:spcAft>
                <a:spcPts val="0"/>
              </a:spcAft>
              <a:buBlip>
                <a:blip r:embed="rId3"/>
              </a:buBlip>
              <a:defRPr/>
            </a:pPr>
            <a:endParaRPr lang="en-US" sz="1600" kern="0" spc="-150" dirty="0" smtClean="0">
              <a:solidFill>
                <a:srgbClr val="1F497D">
                  <a:lumMod val="75000"/>
                </a:srgbClr>
              </a:solidFill>
              <a:latin typeface="Calibri"/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00" kern="0" spc="-150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00" spc="-15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8056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 advTm="2968">
        <p:fade/>
      </p:transition>
    </mc:Choice>
    <mc:Fallback xmlns="">
      <p:transition advClick="0" advTm="296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48"/>
          <p:cNvGrpSpPr>
            <a:grpSpLocks/>
          </p:cNvGrpSpPr>
          <p:nvPr/>
        </p:nvGrpSpPr>
        <p:grpSpPr bwMode="auto">
          <a:xfrm>
            <a:off x="0" y="-14288"/>
            <a:ext cx="9144000" cy="6872288"/>
            <a:chOff x="0" y="-14263"/>
            <a:chExt cx="9144000" cy="6872263"/>
          </a:xfrm>
        </p:grpSpPr>
        <p:sp>
          <p:nvSpPr>
            <p:cNvPr id="50" name="Rectangle 49"/>
            <p:cNvSpPr/>
            <p:nvPr/>
          </p:nvSpPr>
          <p:spPr>
            <a:xfrm>
              <a:off x="0" y="-14263"/>
              <a:ext cx="9144000" cy="687226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0" y="68239"/>
              <a:ext cx="9144000" cy="6789761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95000"/>
                    <a:lumOff val="5000"/>
                  </a:schemeClr>
                </a:gs>
                <a:gs pos="0">
                  <a:schemeClr val="tx1">
                    <a:lumMod val="65000"/>
                    <a:lumOff val="3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glow>
                <a:schemeClr val="tx1">
                  <a:alpha val="0"/>
                </a:schemeClr>
              </a:glow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5" name="Rectangle 24"/>
          <p:cNvSpPr/>
          <p:nvPr/>
        </p:nvSpPr>
        <p:spPr>
          <a:xfrm>
            <a:off x="233011" y="620692"/>
            <a:ext cx="8677989" cy="5876781"/>
          </a:xfrm>
          <a:prstGeom prst="rect">
            <a:avLst/>
          </a:prstGeom>
          <a:solidFill>
            <a:schemeClr val="tx1">
              <a:alpha val="21961"/>
            </a:schemeClr>
          </a:solidFill>
          <a:ln>
            <a:noFill/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-7410" y="-7145"/>
            <a:ext cx="9144000" cy="6872289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87000"/>
                </a:schemeClr>
              </a:gs>
              <a:gs pos="13000">
                <a:schemeClr val="bg1"/>
              </a:gs>
            </a:gsLst>
            <a:lin ang="5400000" scaled="1"/>
            <a:tileRect/>
          </a:gradFill>
          <a:ln w="12700">
            <a:solidFill>
              <a:schemeClr val="bg1">
                <a:lumMod val="65000"/>
              </a:schemeClr>
            </a:solidFill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0" name="Freeform 29"/>
          <p:cNvSpPr/>
          <p:nvPr/>
        </p:nvSpPr>
        <p:spPr>
          <a:xfrm>
            <a:off x="0" y="-14289"/>
            <a:ext cx="9144000" cy="936104"/>
          </a:xfrm>
          <a:custGeom>
            <a:avLst/>
            <a:gdLst>
              <a:gd name="connsiteX0" fmla="*/ 0 w 7435339"/>
              <a:gd name="connsiteY0" fmla="*/ 0 h 792088"/>
              <a:gd name="connsiteX1" fmla="*/ 7435339 w 7435339"/>
              <a:gd name="connsiteY1" fmla="*/ 0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7723371"/>
              <a:gd name="connsiteY0" fmla="*/ 0 h 792088"/>
              <a:gd name="connsiteX1" fmla="*/ 7723371 w 7723371"/>
              <a:gd name="connsiteY1" fmla="*/ 19023 h 792088"/>
              <a:gd name="connsiteX2" fmla="*/ 7435339 w 7723371"/>
              <a:gd name="connsiteY2" fmla="*/ 792088 h 792088"/>
              <a:gd name="connsiteX3" fmla="*/ 0 w 7723371"/>
              <a:gd name="connsiteY3" fmla="*/ 792088 h 792088"/>
              <a:gd name="connsiteX4" fmla="*/ 0 w 7723371"/>
              <a:gd name="connsiteY4" fmla="*/ 0 h 792088"/>
              <a:gd name="connsiteX0" fmla="*/ 0 w 7435339"/>
              <a:gd name="connsiteY0" fmla="*/ 0 h 792088"/>
              <a:gd name="connsiteX1" fmla="*/ 6701228 w 7435339"/>
              <a:gd name="connsiteY1" fmla="*/ 19023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6723847"/>
              <a:gd name="connsiteY0" fmla="*/ 0 h 792088"/>
              <a:gd name="connsiteX1" fmla="*/ 6701228 w 6723847"/>
              <a:gd name="connsiteY1" fmla="*/ 19023 h 792088"/>
              <a:gd name="connsiteX2" fmla="*/ 6723847 w 6723847"/>
              <a:gd name="connsiteY2" fmla="*/ 792088 h 792088"/>
              <a:gd name="connsiteX3" fmla="*/ 0 w 6723847"/>
              <a:gd name="connsiteY3" fmla="*/ 792088 h 792088"/>
              <a:gd name="connsiteX4" fmla="*/ 0 w 6723847"/>
              <a:gd name="connsiteY4" fmla="*/ 0 h 792088"/>
              <a:gd name="connsiteX0" fmla="*/ 0 w 6731291"/>
              <a:gd name="connsiteY0" fmla="*/ 0 h 792088"/>
              <a:gd name="connsiteX1" fmla="*/ 6731291 w 6731291"/>
              <a:gd name="connsiteY1" fmla="*/ 19023 h 792088"/>
              <a:gd name="connsiteX2" fmla="*/ 6723847 w 6731291"/>
              <a:gd name="connsiteY2" fmla="*/ 792088 h 792088"/>
              <a:gd name="connsiteX3" fmla="*/ 0 w 6731291"/>
              <a:gd name="connsiteY3" fmla="*/ 792088 h 792088"/>
              <a:gd name="connsiteX4" fmla="*/ 0 w 6731291"/>
              <a:gd name="connsiteY4" fmla="*/ 0 h 79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31291" h="792088">
                <a:moveTo>
                  <a:pt x="0" y="0"/>
                </a:moveTo>
                <a:lnTo>
                  <a:pt x="6731291" y="19023"/>
                </a:lnTo>
                <a:cubicBezTo>
                  <a:pt x="6728810" y="276711"/>
                  <a:pt x="6726328" y="534400"/>
                  <a:pt x="6723847" y="792088"/>
                </a:cubicBezTo>
                <a:lnTo>
                  <a:pt x="0" y="79208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  <a:shade val="30000"/>
                  <a:satMod val="115000"/>
                </a:schemeClr>
              </a:gs>
              <a:gs pos="50000">
                <a:schemeClr val="tx2">
                  <a:lumMod val="75000"/>
                  <a:shade val="67500"/>
                  <a:satMod val="115000"/>
                </a:schemeClr>
              </a:gs>
              <a:gs pos="100000">
                <a:schemeClr val="tx2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1" name="Title 1"/>
          <p:cNvSpPr txBox="1">
            <a:spLocks/>
          </p:cNvSpPr>
          <p:nvPr/>
        </p:nvSpPr>
        <p:spPr bwMode="auto">
          <a:xfrm>
            <a:off x="71500" y="68213"/>
            <a:ext cx="9001000" cy="785819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178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354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532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709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kern="0" spc="-151" dirty="0" smtClean="0">
                <a:ln w="11430"/>
                <a:solidFill>
                  <a:srgbClr val="F8F8F8"/>
                </a:solidFill>
                <a:latin typeface="Rockwell" panose="02060603020205020403" pitchFamily="18" charset="0"/>
              </a:rPr>
              <a:t>Toolbox</a:t>
            </a:r>
            <a:endParaRPr lang="en-US" sz="3200" b="1" kern="0" spc="-151" dirty="0">
              <a:ln w="11430"/>
              <a:solidFill>
                <a:srgbClr val="F8F8F8"/>
              </a:solidFill>
              <a:latin typeface="Rockwell" panose="02060603020205020403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5816" y="1098702"/>
            <a:ext cx="4544919" cy="454491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117" y="1186408"/>
            <a:ext cx="2066867" cy="57577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438" y="5820508"/>
            <a:ext cx="9144000" cy="1037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822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 advTm="2968">
        <p:fade/>
      </p:transition>
    </mc:Choice>
    <mc:Fallback xmlns="">
      <p:transition advClick="0" advTm="296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48"/>
          <p:cNvGrpSpPr>
            <a:grpSpLocks/>
          </p:cNvGrpSpPr>
          <p:nvPr/>
        </p:nvGrpSpPr>
        <p:grpSpPr bwMode="auto">
          <a:xfrm>
            <a:off x="0" y="-14288"/>
            <a:ext cx="9144000" cy="6872288"/>
            <a:chOff x="0" y="-14263"/>
            <a:chExt cx="9144000" cy="6872263"/>
          </a:xfrm>
        </p:grpSpPr>
        <p:sp>
          <p:nvSpPr>
            <p:cNvPr id="50" name="Rectangle 49"/>
            <p:cNvSpPr/>
            <p:nvPr/>
          </p:nvSpPr>
          <p:spPr>
            <a:xfrm>
              <a:off x="0" y="-14263"/>
              <a:ext cx="9144000" cy="687226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0" y="68239"/>
              <a:ext cx="9144000" cy="6789761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95000"/>
                    <a:lumOff val="5000"/>
                  </a:schemeClr>
                </a:gs>
                <a:gs pos="0">
                  <a:schemeClr val="tx1">
                    <a:lumMod val="65000"/>
                    <a:lumOff val="3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glow>
                <a:schemeClr val="tx1">
                  <a:alpha val="0"/>
                </a:schemeClr>
              </a:glow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5" name="Rectangle 24"/>
          <p:cNvSpPr/>
          <p:nvPr/>
        </p:nvSpPr>
        <p:spPr>
          <a:xfrm>
            <a:off x="233011" y="620692"/>
            <a:ext cx="8677989" cy="5876781"/>
          </a:xfrm>
          <a:prstGeom prst="rect">
            <a:avLst/>
          </a:prstGeom>
          <a:solidFill>
            <a:schemeClr val="tx1">
              <a:alpha val="21961"/>
            </a:schemeClr>
          </a:solidFill>
          <a:ln>
            <a:noFill/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-7410" y="-7145"/>
            <a:ext cx="9144000" cy="6872289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87000"/>
                </a:schemeClr>
              </a:gs>
              <a:gs pos="13000">
                <a:schemeClr val="bg1"/>
              </a:gs>
            </a:gsLst>
            <a:lin ang="5400000" scaled="1"/>
            <a:tileRect/>
          </a:gradFill>
          <a:ln w="12700">
            <a:solidFill>
              <a:schemeClr val="bg1">
                <a:lumMod val="65000"/>
              </a:schemeClr>
            </a:solidFill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0" name="Freeform 29"/>
          <p:cNvSpPr/>
          <p:nvPr/>
        </p:nvSpPr>
        <p:spPr>
          <a:xfrm>
            <a:off x="0" y="-14289"/>
            <a:ext cx="9144000" cy="936104"/>
          </a:xfrm>
          <a:custGeom>
            <a:avLst/>
            <a:gdLst>
              <a:gd name="connsiteX0" fmla="*/ 0 w 7435339"/>
              <a:gd name="connsiteY0" fmla="*/ 0 h 792088"/>
              <a:gd name="connsiteX1" fmla="*/ 7435339 w 7435339"/>
              <a:gd name="connsiteY1" fmla="*/ 0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7723371"/>
              <a:gd name="connsiteY0" fmla="*/ 0 h 792088"/>
              <a:gd name="connsiteX1" fmla="*/ 7723371 w 7723371"/>
              <a:gd name="connsiteY1" fmla="*/ 19023 h 792088"/>
              <a:gd name="connsiteX2" fmla="*/ 7435339 w 7723371"/>
              <a:gd name="connsiteY2" fmla="*/ 792088 h 792088"/>
              <a:gd name="connsiteX3" fmla="*/ 0 w 7723371"/>
              <a:gd name="connsiteY3" fmla="*/ 792088 h 792088"/>
              <a:gd name="connsiteX4" fmla="*/ 0 w 7723371"/>
              <a:gd name="connsiteY4" fmla="*/ 0 h 792088"/>
              <a:gd name="connsiteX0" fmla="*/ 0 w 7435339"/>
              <a:gd name="connsiteY0" fmla="*/ 0 h 792088"/>
              <a:gd name="connsiteX1" fmla="*/ 6701228 w 7435339"/>
              <a:gd name="connsiteY1" fmla="*/ 19023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6723847"/>
              <a:gd name="connsiteY0" fmla="*/ 0 h 792088"/>
              <a:gd name="connsiteX1" fmla="*/ 6701228 w 6723847"/>
              <a:gd name="connsiteY1" fmla="*/ 19023 h 792088"/>
              <a:gd name="connsiteX2" fmla="*/ 6723847 w 6723847"/>
              <a:gd name="connsiteY2" fmla="*/ 792088 h 792088"/>
              <a:gd name="connsiteX3" fmla="*/ 0 w 6723847"/>
              <a:gd name="connsiteY3" fmla="*/ 792088 h 792088"/>
              <a:gd name="connsiteX4" fmla="*/ 0 w 6723847"/>
              <a:gd name="connsiteY4" fmla="*/ 0 h 792088"/>
              <a:gd name="connsiteX0" fmla="*/ 0 w 6731291"/>
              <a:gd name="connsiteY0" fmla="*/ 0 h 792088"/>
              <a:gd name="connsiteX1" fmla="*/ 6731291 w 6731291"/>
              <a:gd name="connsiteY1" fmla="*/ 19023 h 792088"/>
              <a:gd name="connsiteX2" fmla="*/ 6723847 w 6731291"/>
              <a:gd name="connsiteY2" fmla="*/ 792088 h 792088"/>
              <a:gd name="connsiteX3" fmla="*/ 0 w 6731291"/>
              <a:gd name="connsiteY3" fmla="*/ 792088 h 792088"/>
              <a:gd name="connsiteX4" fmla="*/ 0 w 6731291"/>
              <a:gd name="connsiteY4" fmla="*/ 0 h 79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31291" h="792088">
                <a:moveTo>
                  <a:pt x="0" y="0"/>
                </a:moveTo>
                <a:lnTo>
                  <a:pt x="6731291" y="19023"/>
                </a:lnTo>
                <a:cubicBezTo>
                  <a:pt x="6728810" y="276711"/>
                  <a:pt x="6726328" y="534400"/>
                  <a:pt x="6723847" y="792088"/>
                </a:cubicBezTo>
                <a:lnTo>
                  <a:pt x="0" y="79208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  <a:shade val="30000"/>
                  <a:satMod val="115000"/>
                </a:schemeClr>
              </a:gs>
              <a:gs pos="50000">
                <a:schemeClr val="tx2">
                  <a:lumMod val="75000"/>
                  <a:shade val="67500"/>
                  <a:satMod val="115000"/>
                </a:schemeClr>
              </a:gs>
              <a:gs pos="100000">
                <a:schemeClr val="tx2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1" name="Title 1"/>
          <p:cNvSpPr txBox="1">
            <a:spLocks/>
          </p:cNvSpPr>
          <p:nvPr/>
        </p:nvSpPr>
        <p:spPr bwMode="auto">
          <a:xfrm>
            <a:off x="71500" y="68213"/>
            <a:ext cx="9001000" cy="785819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178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354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532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709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kern="0" spc="-151" dirty="0" smtClean="0">
                <a:ln w="11430"/>
                <a:solidFill>
                  <a:srgbClr val="F8F8F8"/>
                </a:solidFill>
                <a:latin typeface="Rockwell" panose="02060603020205020403" pitchFamily="18" charset="0"/>
              </a:rPr>
              <a:t>Results and Discussion</a:t>
            </a:r>
            <a:endParaRPr lang="en-US" sz="3200" b="1" kern="0" spc="-151" dirty="0">
              <a:ln w="11430"/>
              <a:solidFill>
                <a:srgbClr val="F8F8F8"/>
              </a:solidFill>
              <a:latin typeface="Rockwell" panose="02060603020205020403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0" y="997174"/>
            <a:ext cx="4435766" cy="572611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1217" y="997174"/>
            <a:ext cx="4424724" cy="572611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62921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 advTm="2968">
        <p:fade/>
      </p:transition>
    </mc:Choice>
    <mc:Fallback xmlns="">
      <p:transition advClick="0" advTm="296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48"/>
          <p:cNvGrpSpPr>
            <a:grpSpLocks/>
          </p:cNvGrpSpPr>
          <p:nvPr/>
        </p:nvGrpSpPr>
        <p:grpSpPr bwMode="auto">
          <a:xfrm>
            <a:off x="0" y="-14288"/>
            <a:ext cx="9144000" cy="6872288"/>
            <a:chOff x="0" y="-14263"/>
            <a:chExt cx="9144000" cy="6872263"/>
          </a:xfrm>
        </p:grpSpPr>
        <p:sp>
          <p:nvSpPr>
            <p:cNvPr id="50" name="Rectangle 49"/>
            <p:cNvSpPr/>
            <p:nvPr/>
          </p:nvSpPr>
          <p:spPr>
            <a:xfrm>
              <a:off x="0" y="-14263"/>
              <a:ext cx="9144000" cy="687226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0" y="68239"/>
              <a:ext cx="9144000" cy="6789761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95000"/>
                    <a:lumOff val="5000"/>
                  </a:schemeClr>
                </a:gs>
                <a:gs pos="0">
                  <a:schemeClr val="tx1">
                    <a:lumMod val="65000"/>
                    <a:lumOff val="3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glow>
                <a:schemeClr val="tx1">
                  <a:alpha val="0"/>
                </a:schemeClr>
              </a:glow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5" name="Rectangle 24"/>
          <p:cNvSpPr/>
          <p:nvPr/>
        </p:nvSpPr>
        <p:spPr>
          <a:xfrm>
            <a:off x="233011" y="620692"/>
            <a:ext cx="8677989" cy="5876781"/>
          </a:xfrm>
          <a:prstGeom prst="rect">
            <a:avLst/>
          </a:prstGeom>
          <a:solidFill>
            <a:schemeClr val="tx1">
              <a:alpha val="21961"/>
            </a:schemeClr>
          </a:solidFill>
          <a:ln>
            <a:noFill/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-7410" y="-7145"/>
            <a:ext cx="9144000" cy="6872289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87000"/>
                </a:schemeClr>
              </a:gs>
              <a:gs pos="13000">
                <a:schemeClr val="bg1"/>
              </a:gs>
            </a:gsLst>
            <a:lin ang="5400000" scaled="1"/>
            <a:tileRect/>
          </a:gradFill>
          <a:ln w="12700">
            <a:solidFill>
              <a:schemeClr val="bg1">
                <a:lumMod val="65000"/>
              </a:schemeClr>
            </a:solidFill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0" name="Freeform 29"/>
          <p:cNvSpPr/>
          <p:nvPr/>
        </p:nvSpPr>
        <p:spPr>
          <a:xfrm>
            <a:off x="0" y="-14289"/>
            <a:ext cx="9144000" cy="936104"/>
          </a:xfrm>
          <a:custGeom>
            <a:avLst/>
            <a:gdLst>
              <a:gd name="connsiteX0" fmla="*/ 0 w 7435339"/>
              <a:gd name="connsiteY0" fmla="*/ 0 h 792088"/>
              <a:gd name="connsiteX1" fmla="*/ 7435339 w 7435339"/>
              <a:gd name="connsiteY1" fmla="*/ 0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7723371"/>
              <a:gd name="connsiteY0" fmla="*/ 0 h 792088"/>
              <a:gd name="connsiteX1" fmla="*/ 7723371 w 7723371"/>
              <a:gd name="connsiteY1" fmla="*/ 19023 h 792088"/>
              <a:gd name="connsiteX2" fmla="*/ 7435339 w 7723371"/>
              <a:gd name="connsiteY2" fmla="*/ 792088 h 792088"/>
              <a:gd name="connsiteX3" fmla="*/ 0 w 7723371"/>
              <a:gd name="connsiteY3" fmla="*/ 792088 h 792088"/>
              <a:gd name="connsiteX4" fmla="*/ 0 w 7723371"/>
              <a:gd name="connsiteY4" fmla="*/ 0 h 792088"/>
              <a:gd name="connsiteX0" fmla="*/ 0 w 7435339"/>
              <a:gd name="connsiteY0" fmla="*/ 0 h 792088"/>
              <a:gd name="connsiteX1" fmla="*/ 6701228 w 7435339"/>
              <a:gd name="connsiteY1" fmla="*/ 19023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6723847"/>
              <a:gd name="connsiteY0" fmla="*/ 0 h 792088"/>
              <a:gd name="connsiteX1" fmla="*/ 6701228 w 6723847"/>
              <a:gd name="connsiteY1" fmla="*/ 19023 h 792088"/>
              <a:gd name="connsiteX2" fmla="*/ 6723847 w 6723847"/>
              <a:gd name="connsiteY2" fmla="*/ 792088 h 792088"/>
              <a:gd name="connsiteX3" fmla="*/ 0 w 6723847"/>
              <a:gd name="connsiteY3" fmla="*/ 792088 h 792088"/>
              <a:gd name="connsiteX4" fmla="*/ 0 w 6723847"/>
              <a:gd name="connsiteY4" fmla="*/ 0 h 792088"/>
              <a:gd name="connsiteX0" fmla="*/ 0 w 6731291"/>
              <a:gd name="connsiteY0" fmla="*/ 0 h 792088"/>
              <a:gd name="connsiteX1" fmla="*/ 6731291 w 6731291"/>
              <a:gd name="connsiteY1" fmla="*/ 19023 h 792088"/>
              <a:gd name="connsiteX2" fmla="*/ 6723847 w 6731291"/>
              <a:gd name="connsiteY2" fmla="*/ 792088 h 792088"/>
              <a:gd name="connsiteX3" fmla="*/ 0 w 6731291"/>
              <a:gd name="connsiteY3" fmla="*/ 792088 h 792088"/>
              <a:gd name="connsiteX4" fmla="*/ 0 w 6731291"/>
              <a:gd name="connsiteY4" fmla="*/ 0 h 79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31291" h="792088">
                <a:moveTo>
                  <a:pt x="0" y="0"/>
                </a:moveTo>
                <a:lnTo>
                  <a:pt x="6731291" y="19023"/>
                </a:lnTo>
                <a:cubicBezTo>
                  <a:pt x="6728810" y="276711"/>
                  <a:pt x="6726328" y="534400"/>
                  <a:pt x="6723847" y="792088"/>
                </a:cubicBezTo>
                <a:lnTo>
                  <a:pt x="0" y="79208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  <a:shade val="30000"/>
                  <a:satMod val="115000"/>
                </a:schemeClr>
              </a:gs>
              <a:gs pos="50000">
                <a:schemeClr val="tx2">
                  <a:lumMod val="75000"/>
                  <a:shade val="67500"/>
                  <a:satMod val="115000"/>
                </a:schemeClr>
              </a:gs>
              <a:gs pos="100000">
                <a:schemeClr val="tx2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1" name="Title 1"/>
          <p:cNvSpPr txBox="1">
            <a:spLocks/>
          </p:cNvSpPr>
          <p:nvPr/>
        </p:nvSpPr>
        <p:spPr bwMode="auto">
          <a:xfrm>
            <a:off x="71500" y="68213"/>
            <a:ext cx="9001000" cy="785819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178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354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532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709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kern="0" spc="-151" dirty="0" smtClean="0">
                <a:ln w="11430"/>
                <a:solidFill>
                  <a:srgbClr val="F8F8F8"/>
                </a:solidFill>
                <a:latin typeface="Rockwell" panose="02060603020205020403" pitchFamily="18" charset="0"/>
              </a:rPr>
              <a:t>Results and Discussion</a:t>
            </a:r>
            <a:endParaRPr lang="en-US" sz="3200" b="1" kern="0" spc="-151" dirty="0">
              <a:ln w="11430"/>
              <a:solidFill>
                <a:srgbClr val="F8F8F8"/>
              </a:solidFill>
              <a:latin typeface="Rockwell" panose="02060603020205020403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8368" y="1016135"/>
            <a:ext cx="4441285" cy="574754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60472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 advTm="2968">
        <p:fade/>
      </p:transition>
    </mc:Choice>
    <mc:Fallback xmlns="">
      <p:transition advClick="0" advTm="296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48"/>
          <p:cNvGrpSpPr>
            <a:grpSpLocks/>
          </p:cNvGrpSpPr>
          <p:nvPr/>
        </p:nvGrpSpPr>
        <p:grpSpPr bwMode="auto">
          <a:xfrm>
            <a:off x="0" y="-14288"/>
            <a:ext cx="9144000" cy="6872288"/>
            <a:chOff x="0" y="-14263"/>
            <a:chExt cx="9144000" cy="6872263"/>
          </a:xfrm>
        </p:grpSpPr>
        <p:sp>
          <p:nvSpPr>
            <p:cNvPr id="50" name="Rectangle 49"/>
            <p:cNvSpPr/>
            <p:nvPr/>
          </p:nvSpPr>
          <p:spPr>
            <a:xfrm>
              <a:off x="0" y="-14263"/>
              <a:ext cx="9144000" cy="687226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0" y="68239"/>
              <a:ext cx="9144000" cy="6789761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95000"/>
                    <a:lumOff val="5000"/>
                  </a:schemeClr>
                </a:gs>
                <a:gs pos="0">
                  <a:schemeClr val="tx1">
                    <a:lumMod val="65000"/>
                    <a:lumOff val="3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glow>
                <a:schemeClr val="tx1">
                  <a:alpha val="0"/>
                </a:schemeClr>
              </a:glow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5" name="Rectangle 24"/>
          <p:cNvSpPr/>
          <p:nvPr/>
        </p:nvSpPr>
        <p:spPr>
          <a:xfrm>
            <a:off x="233011" y="620692"/>
            <a:ext cx="8677989" cy="5876781"/>
          </a:xfrm>
          <a:prstGeom prst="rect">
            <a:avLst/>
          </a:prstGeom>
          <a:solidFill>
            <a:schemeClr val="tx1">
              <a:alpha val="21961"/>
            </a:schemeClr>
          </a:solidFill>
          <a:ln>
            <a:noFill/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-7410" y="-7145"/>
            <a:ext cx="9144000" cy="6872289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87000"/>
                </a:schemeClr>
              </a:gs>
              <a:gs pos="13000">
                <a:schemeClr val="bg1"/>
              </a:gs>
            </a:gsLst>
            <a:lin ang="5400000" scaled="1"/>
            <a:tileRect/>
          </a:gradFill>
          <a:ln w="12700">
            <a:solidFill>
              <a:schemeClr val="bg1">
                <a:lumMod val="65000"/>
              </a:schemeClr>
            </a:solidFill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0" name="Freeform 29"/>
          <p:cNvSpPr/>
          <p:nvPr/>
        </p:nvSpPr>
        <p:spPr>
          <a:xfrm>
            <a:off x="0" y="-14289"/>
            <a:ext cx="9144000" cy="936104"/>
          </a:xfrm>
          <a:custGeom>
            <a:avLst/>
            <a:gdLst>
              <a:gd name="connsiteX0" fmla="*/ 0 w 7435339"/>
              <a:gd name="connsiteY0" fmla="*/ 0 h 792088"/>
              <a:gd name="connsiteX1" fmla="*/ 7435339 w 7435339"/>
              <a:gd name="connsiteY1" fmla="*/ 0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7723371"/>
              <a:gd name="connsiteY0" fmla="*/ 0 h 792088"/>
              <a:gd name="connsiteX1" fmla="*/ 7723371 w 7723371"/>
              <a:gd name="connsiteY1" fmla="*/ 19023 h 792088"/>
              <a:gd name="connsiteX2" fmla="*/ 7435339 w 7723371"/>
              <a:gd name="connsiteY2" fmla="*/ 792088 h 792088"/>
              <a:gd name="connsiteX3" fmla="*/ 0 w 7723371"/>
              <a:gd name="connsiteY3" fmla="*/ 792088 h 792088"/>
              <a:gd name="connsiteX4" fmla="*/ 0 w 7723371"/>
              <a:gd name="connsiteY4" fmla="*/ 0 h 792088"/>
              <a:gd name="connsiteX0" fmla="*/ 0 w 7435339"/>
              <a:gd name="connsiteY0" fmla="*/ 0 h 792088"/>
              <a:gd name="connsiteX1" fmla="*/ 6701228 w 7435339"/>
              <a:gd name="connsiteY1" fmla="*/ 19023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6723847"/>
              <a:gd name="connsiteY0" fmla="*/ 0 h 792088"/>
              <a:gd name="connsiteX1" fmla="*/ 6701228 w 6723847"/>
              <a:gd name="connsiteY1" fmla="*/ 19023 h 792088"/>
              <a:gd name="connsiteX2" fmla="*/ 6723847 w 6723847"/>
              <a:gd name="connsiteY2" fmla="*/ 792088 h 792088"/>
              <a:gd name="connsiteX3" fmla="*/ 0 w 6723847"/>
              <a:gd name="connsiteY3" fmla="*/ 792088 h 792088"/>
              <a:gd name="connsiteX4" fmla="*/ 0 w 6723847"/>
              <a:gd name="connsiteY4" fmla="*/ 0 h 792088"/>
              <a:gd name="connsiteX0" fmla="*/ 0 w 6731291"/>
              <a:gd name="connsiteY0" fmla="*/ 0 h 792088"/>
              <a:gd name="connsiteX1" fmla="*/ 6731291 w 6731291"/>
              <a:gd name="connsiteY1" fmla="*/ 19023 h 792088"/>
              <a:gd name="connsiteX2" fmla="*/ 6723847 w 6731291"/>
              <a:gd name="connsiteY2" fmla="*/ 792088 h 792088"/>
              <a:gd name="connsiteX3" fmla="*/ 0 w 6731291"/>
              <a:gd name="connsiteY3" fmla="*/ 792088 h 792088"/>
              <a:gd name="connsiteX4" fmla="*/ 0 w 6731291"/>
              <a:gd name="connsiteY4" fmla="*/ 0 h 79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31291" h="792088">
                <a:moveTo>
                  <a:pt x="0" y="0"/>
                </a:moveTo>
                <a:lnTo>
                  <a:pt x="6731291" y="19023"/>
                </a:lnTo>
                <a:cubicBezTo>
                  <a:pt x="6728810" y="276711"/>
                  <a:pt x="6726328" y="534400"/>
                  <a:pt x="6723847" y="792088"/>
                </a:cubicBezTo>
                <a:lnTo>
                  <a:pt x="0" y="79208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  <a:shade val="30000"/>
                  <a:satMod val="115000"/>
                </a:schemeClr>
              </a:gs>
              <a:gs pos="50000">
                <a:schemeClr val="tx2">
                  <a:lumMod val="75000"/>
                  <a:shade val="67500"/>
                  <a:satMod val="115000"/>
                </a:schemeClr>
              </a:gs>
              <a:gs pos="100000">
                <a:schemeClr val="tx2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1" name="Title 1"/>
          <p:cNvSpPr txBox="1">
            <a:spLocks/>
          </p:cNvSpPr>
          <p:nvPr/>
        </p:nvSpPr>
        <p:spPr bwMode="auto">
          <a:xfrm>
            <a:off x="71500" y="68213"/>
            <a:ext cx="9001000" cy="785819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178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354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532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709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kern="0" spc="-151" dirty="0" smtClean="0">
                <a:ln w="11430"/>
                <a:solidFill>
                  <a:srgbClr val="F8F8F8"/>
                </a:solidFill>
                <a:latin typeface="Rockwell" panose="02060603020205020403" pitchFamily="18" charset="0"/>
              </a:rPr>
              <a:t>Results and Discussion</a:t>
            </a:r>
            <a:endParaRPr lang="en-US" sz="3200" b="1" kern="0" spc="-151" dirty="0">
              <a:ln w="11430"/>
              <a:solidFill>
                <a:srgbClr val="F8F8F8"/>
              </a:solidFill>
              <a:latin typeface="Rockwell" panose="02060603020205020403" pitchFamily="18" charset="0"/>
            </a:endParaRPr>
          </a:p>
        </p:txBody>
      </p:sp>
      <p:pic>
        <p:nvPicPr>
          <p:cNvPr id="1026" name="Picture 2" descr="Res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987" y="1160488"/>
            <a:ext cx="4185140" cy="541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 descr="RMSE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9585" y="1153257"/>
            <a:ext cx="4178167" cy="5404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037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 advTm="2968">
        <p:fade/>
      </p:transition>
    </mc:Choice>
    <mc:Fallback xmlns="">
      <p:transition advClick="0" advTm="296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48"/>
          <p:cNvGrpSpPr>
            <a:grpSpLocks/>
          </p:cNvGrpSpPr>
          <p:nvPr/>
        </p:nvGrpSpPr>
        <p:grpSpPr bwMode="auto">
          <a:xfrm>
            <a:off x="0" y="-14288"/>
            <a:ext cx="9144000" cy="6872288"/>
            <a:chOff x="0" y="-14263"/>
            <a:chExt cx="9144000" cy="6872263"/>
          </a:xfrm>
        </p:grpSpPr>
        <p:sp>
          <p:nvSpPr>
            <p:cNvPr id="50" name="Rectangle 49"/>
            <p:cNvSpPr/>
            <p:nvPr/>
          </p:nvSpPr>
          <p:spPr>
            <a:xfrm>
              <a:off x="0" y="-14263"/>
              <a:ext cx="9144000" cy="687226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0" y="68239"/>
              <a:ext cx="9144000" cy="6789761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95000"/>
                    <a:lumOff val="5000"/>
                  </a:schemeClr>
                </a:gs>
                <a:gs pos="0">
                  <a:schemeClr val="tx1">
                    <a:lumMod val="65000"/>
                    <a:lumOff val="3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glow>
                <a:schemeClr val="tx1">
                  <a:alpha val="0"/>
                </a:schemeClr>
              </a:glow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5" name="Rectangle 24"/>
          <p:cNvSpPr/>
          <p:nvPr/>
        </p:nvSpPr>
        <p:spPr>
          <a:xfrm>
            <a:off x="233011" y="620692"/>
            <a:ext cx="8677989" cy="5876781"/>
          </a:xfrm>
          <a:prstGeom prst="rect">
            <a:avLst/>
          </a:prstGeom>
          <a:solidFill>
            <a:schemeClr val="tx1">
              <a:alpha val="21961"/>
            </a:schemeClr>
          </a:solidFill>
          <a:ln>
            <a:noFill/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-7410" y="-7145"/>
            <a:ext cx="9144000" cy="6872289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87000"/>
                </a:schemeClr>
              </a:gs>
              <a:gs pos="13000">
                <a:schemeClr val="bg1"/>
              </a:gs>
            </a:gsLst>
            <a:lin ang="5400000" scaled="1"/>
            <a:tileRect/>
          </a:gradFill>
          <a:ln w="12700">
            <a:solidFill>
              <a:schemeClr val="bg1">
                <a:lumMod val="65000"/>
              </a:schemeClr>
            </a:solidFill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0" name="Freeform 29"/>
          <p:cNvSpPr/>
          <p:nvPr/>
        </p:nvSpPr>
        <p:spPr>
          <a:xfrm>
            <a:off x="0" y="-14289"/>
            <a:ext cx="9144000" cy="936104"/>
          </a:xfrm>
          <a:custGeom>
            <a:avLst/>
            <a:gdLst>
              <a:gd name="connsiteX0" fmla="*/ 0 w 7435339"/>
              <a:gd name="connsiteY0" fmla="*/ 0 h 792088"/>
              <a:gd name="connsiteX1" fmla="*/ 7435339 w 7435339"/>
              <a:gd name="connsiteY1" fmla="*/ 0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7723371"/>
              <a:gd name="connsiteY0" fmla="*/ 0 h 792088"/>
              <a:gd name="connsiteX1" fmla="*/ 7723371 w 7723371"/>
              <a:gd name="connsiteY1" fmla="*/ 19023 h 792088"/>
              <a:gd name="connsiteX2" fmla="*/ 7435339 w 7723371"/>
              <a:gd name="connsiteY2" fmla="*/ 792088 h 792088"/>
              <a:gd name="connsiteX3" fmla="*/ 0 w 7723371"/>
              <a:gd name="connsiteY3" fmla="*/ 792088 h 792088"/>
              <a:gd name="connsiteX4" fmla="*/ 0 w 7723371"/>
              <a:gd name="connsiteY4" fmla="*/ 0 h 792088"/>
              <a:gd name="connsiteX0" fmla="*/ 0 w 7435339"/>
              <a:gd name="connsiteY0" fmla="*/ 0 h 792088"/>
              <a:gd name="connsiteX1" fmla="*/ 6701228 w 7435339"/>
              <a:gd name="connsiteY1" fmla="*/ 19023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6723847"/>
              <a:gd name="connsiteY0" fmla="*/ 0 h 792088"/>
              <a:gd name="connsiteX1" fmla="*/ 6701228 w 6723847"/>
              <a:gd name="connsiteY1" fmla="*/ 19023 h 792088"/>
              <a:gd name="connsiteX2" fmla="*/ 6723847 w 6723847"/>
              <a:gd name="connsiteY2" fmla="*/ 792088 h 792088"/>
              <a:gd name="connsiteX3" fmla="*/ 0 w 6723847"/>
              <a:gd name="connsiteY3" fmla="*/ 792088 h 792088"/>
              <a:gd name="connsiteX4" fmla="*/ 0 w 6723847"/>
              <a:gd name="connsiteY4" fmla="*/ 0 h 792088"/>
              <a:gd name="connsiteX0" fmla="*/ 0 w 6731291"/>
              <a:gd name="connsiteY0" fmla="*/ 0 h 792088"/>
              <a:gd name="connsiteX1" fmla="*/ 6731291 w 6731291"/>
              <a:gd name="connsiteY1" fmla="*/ 19023 h 792088"/>
              <a:gd name="connsiteX2" fmla="*/ 6723847 w 6731291"/>
              <a:gd name="connsiteY2" fmla="*/ 792088 h 792088"/>
              <a:gd name="connsiteX3" fmla="*/ 0 w 6731291"/>
              <a:gd name="connsiteY3" fmla="*/ 792088 h 792088"/>
              <a:gd name="connsiteX4" fmla="*/ 0 w 6731291"/>
              <a:gd name="connsiteY4" fmla="*/ 0 h 79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31291" h="792088">
                <a:moveTo>
                  <a:pt x="0" y="0"/>
                </a:moveTo>
                <a:lnTo>
                  <a:pt x="6731291" y="19023"/>
                </a:lnTo>
                <a:cubicBezTo>
                  <a:pt x="6728810" y="276711"/>
                  <a:pt x="6726328" y="534400"/>
                  <a:pt x="6723847" y="792088"/>
                </a:cubicBezTo>
                <a:lnTo>
                  <a:pt x="0" y="79208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  <a:shade val="30000"/>
                  <a:satMod val="115000"/>
                </a:schemeClr>
              </a:gs>
              <a:gs pos="50000">
                <a:schemeClr val="tx2">
                  <a:lumMod val="75000"/>
                  <a:shade val="67500"/>
                  <a:satMod val="115000"/>
                </a:schemeClr>
              </a:gs>
              <a:gs pos="100000">
                <a:schemeClr val="tx2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1" name="Title 1"/>
          <p:cNvSpPr txBox="1">
            <a:spLocks/>
          </p:cNvSpPr>
          <p:nvPr/>
        </p:nvSpPr>
        <p:spPr bwMode="auto">
          <a:xfrm>
            <a:off x="71500" y="68213"/>
            <a:ext cx="9001000" cy="785819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178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354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532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709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kern="0" spc="-151" dirty="0" smtClean="0">
                <a:ln w="11430"/>
                <a:solidFill>
                  <a:srgbClr val="F8F8F8"/>
                </a:solidFill>
                <a:latin typeface="Rockwell" panose="02060603020205020403" pitchFamily="18" charset="0"/>
              </a:rPr>
              <a:t>Acknowledgment</a:t>
            </a:r>
            <a:endParaRPr lang="en-US" sz="3200" b="1" kern="0" spc="-151" dirty="0">
              <a:ln w="11430"/>
              <a:solidFill>
                <a:srgbClr val="F8F8F8"/>
              </a:solidFill>
              <a:latin typeface="Rockwell" panose="02060603020205020403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410" y="914669"/>
            <a:ext cx="1987122" cy="595047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700" t="30050" r="21650"/>
          <a:stretch/>
        </p:blipFill>
        <p:spPr>
          <a:xfrm>
            <a:off x="1880702" y="922634"/>
            <a:ext cx="1971218" cy="593536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401" r="4325"/>
          <a:stretch/>
        </p:blipFill>
        <p:spPr>
          <a:xfrm>
            <a:off x="3859330" y="907190"/>
            <a:ext cx="1859021" cy="594333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26" r="27626"/>
          <a:stretch/>
        </p:blipFill>
        <p:spPr>
          <a:xfrm>
            <a:off x="5606031" y="907189"/>
            <a:ext cx="1900813" cy="594333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062" t="35300" r="36613"/>
          <a:stretch/>
        </p:blipFill>
        <p:spPr>
          <a:xfrm>
            <a:off x="7352731" y="921814"/>
            <a:ext cx="1794973" cy="5936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21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 advTm="2968">
        <p:fade/>
      </p:transition>
    </mc:Choice>
    <mc:Fallback xmlns="">
      <p:transition advClick="0" advTm="296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-14287"/>
            <a:ext cx="9144000" cy="2032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379" name="Picture 2" descr="D:\BUDI Folder\THEMEFOREST\powerpoint2\corn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61138"/>
            <a:ext cx="107950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-2340768" y="1136450"/>
            <a:ext cx="7992892" cy="504056"/>
          </a:xfrm>
          <a:ln>
            <a:miter lim="800000"/>
            <a:headEnd/>
            <a:tailEnd/>
          </a:ln>
          <a:extLst/>
        </p:spPr>
        <p:txBody>
          <a:bodyPr rtlCol="0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spc="-15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 </a:t>
            </a:r>
            <a:endParaRPr lang="en-US" sz="2800" spc="-151" dirty="0">
              <a:solidFill>
                <a:schemeClr val="tx2">
                  <a:lumMod val="75000"/>
                </a:schemeClr>
              </a:solidFill>
              <a:latin typeface="+mn-lt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4287"/>
            <a:ext cx="9144000" cy="5940973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0008" y="2936341"/>
            <a:ext cx="4005708" cy="2796262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056" y="2963908"/>
            <a:ext cx="4211960" cy="2658097"/>
          </a:xfrm>
          <a:prstGeom prst="rect">
            <a:avLst/>
          </a:prstGeom>
        </p:spPr>
      </p:pic>
      <p:sp>
        <p:nvSpPr>
          <p:cNvPr id="12" name="Title 1"/>
          <p:cNvSpPr txBox="1">
            <a:spLocks/>
          </p:cNvSpPr>
          <p:nvPr/>
        </p:nvSpPr>
        <p:spPr bwMode="auto">
          <a:xfrm>
            <a:off x="0" y="5926687"/>
            <a:ext cx="9144000" cy="936104"/>
          </a:xfrm>
          <a:prstGeom prst="rect">
            <a:avLst/>
          </a:prstGeom>
          <a:solidFill>
            <a:srgbClr val="00B0F0"/>
          </a:solidFill>
          <a:ln>
            <a:noFill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178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354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532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709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 smtClean="0">
                <a:latin typeface="Edwardian Script ITC" panose="030303020407070D0804" pitchFamily="66" charset="0"/>
              </a:rPr>
              <a:t>Everything </a:t>
            </a:r>
            <a:r>
              <a:rPr lang="en-US" sz="2800" b="1" dirty="0">
                <a:latin typeface="Edwardian Script ITC" panose="030303020407070D0804" pitchFamily="66" charset="0"/>
              </a:rPr>
              <a:t>is related to everything else, but near things are more related than distant </a:t>
            </a:r>
            <a:r>
              <a:rPr lang="en-US" sz="2800" b="1" dirty="0" smtClean="0">
                <a:latin typeface="Edwardian Script ITC" panose="030303020407070D0804" pitchFamily="66" charset="0"/>
              </a:rPr>
              <a:t>things</a:t>
            </a:r>
            <a:r>
              <a:rPr lang="en-US" sz="2800" b="1" dirty="0">
                <a:latin typeface="Edwardian Script ITC" panose="030303020407070D0804" pitchFamily="66" charset="0"/>
              </a:rPr>
              <a:t>. (Waldo Tobler)</a:t>
            </a:r>
            <a:endParaRPr lang="en-US" sz="2800" b="1" kern="0" spc="-300" dirty="0">
              <a:ln w="11430"/>
              <a:solidFill>
                <a:srgbClr val="FFC000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Edwardian Script ITC" panose="030303020407070D0804" pitchFamily="66" charset="0"/>
              <a:ea typeface="Charis SIL" pitchFamily="2" charset="0"/>
              <a:cs typeface="Charis SIL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6048" y="2301751"/>
            <a:ext cx="9144000" cy="714950"/>
          </a:xfrm>
          <a:ln>
            <a:miter lim="800000"/>
            <a:headEnd/>
            <a:tailEnd/>
          </a:ln>
          <a:extLst/>
        </p:spPr>
        <p:txBody>
          <a:bodyPr rtlCol="0" anchor="t">
            <a:no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 spc="-300" dirty="0" smtClean="0">
                <a:ln w="11430"/>
                <a:solidFill>
                  <a:srgbClr val="00B050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Arial Black" pitchFamily="34" charset="0"/>
                <a:ea typeface="Charis SIL" pitchFamily="2" charset="0"/>
                <a:cs typeface="Charis SIL" pitchFamily="2" charset="0"/>
              </a:rPr>
              <a:t>THANKS FOR YOUR ATTENTION</a:t>
            </a:r>
            <a:endParaRPr lang="en-US" sz="4000" b="1" spc="-300" dirty="0">
              <a:ln w="11430"/>
              <a:solidFill>
                <a:srgbClr val="00B050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Arial Black" pitchFamily="34" charset="0"/>
              <a:ea typeface="Charis SIL" pitchFamily="2" charset="0"/>
              <a:cs typeface="Charis SI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978986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48"/>
          <p:cNvGrpSpPr>
            <a:grpSpLocks/>
          </p:cNvGrpSpPr>
          <p:nvPr/>
        </p:nvGrpSpPr>
        <p:grpSpPr bwMode="auto">
          <a:xfrm>
            <a:off x="0" y="-14288"/>
            <a:ext cx="9144000" cy="6872288"/>
            <a:chOff x="0" y="-14263"/>
            <a:chExt cx="9144000" cy="6872263"/>
          </a:xfrm>
        </p:grpSpPr>
        <p:sp>
          <p:nvSpPr>
            <p:cNvPr id="50" name="Rectangle 49"/>
            <p:cNvSpPr/>
            <p:nvPr/>
          </p:nvSpPr>
          <p:spPr>
            <a:xfrm>
              <a:off x="0" y="-14263"/>
              <a:ext cx="9144000" cy="687226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0" y="68239"/>
              <a:ext cx="9144000" cy="6789761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95000"/>
                    <a:lumOff val="5000"/>
                  </a:schemeClr>
                </a:gs>
                <a:gs pos="0">
                  <a:schemeClr val="tx1">
                    <a:lumMod val="65000"/>
                    <a:lumOff val="3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glow>
                <a:schemeClr val="tx1">
                  <a:alpha val="0"/>
                </a:schemeClr>
              </a:glow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5" name="Rectangle 24"/>
          <p:cNvSpPr/>
          <p:nvPr/>
        </p:nvSpPr>
        <p:spPr>
          <a:xfrm>
            <a:off x="233011" y="620692"/>
            <a:ext cx="8677989" cy="5876781"/>
          </a:xfrm>
          <a:prstGeom prst="rect">
            <a:avLst/>
          </a:prstGeom>
          <a:solidFill>
            <a:schemeClr val="tx1">
              <a:alpha val="21961"/>
            </a:schemeClr>
          </a:solidFill>
          <a:ln>
            <a:noFill/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0" y="-14288"/>
            <a:ext cx="9144000" cy="6872289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87000"/>
                </a:schemeClr>
              </a:gs>
              <a:gs pos="13000">
                <a:schemeClr val="bg1"/>
              </a:gs>
            </a:gsLst>
            <a:lin ang="5400000" scaled="1"/>
            <a:tileRect/>
          </a:gradFill>
          <a:ln w="12700">
            <a:solidFill>
              <a:schemeClr val="bg1">
                <a:lumMod val="65000"/>
              </a:schemeClr>
            </a:solidFill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Freeform 15"/>
          <p:cNvSpPr/>
          <p:nvPr/>
        </p:nvSpPr>
        <p:spPr>
          <a:xfrm>
            <a:off x="0" y="-14289"/>
            <a:ext cx="9144000" cy="936104"/>
          </a:xfrm>
          <a:custGeom>
            <a:avLst/>
            <a:gdLst>
              <a:gd name="connsiteX0" fmla="*/ 0 w 7435339"/>
              <a:gd name="connsiteY0" fmla="*/ 0 h 792088"/>
              <a:gd name="connsiteX1" fmla="*/ 7435339 w 7435339"/>
              <a:gd name="connsiteY1" fmla="*/ 0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7723371"/>
              <a:gd name="connsiteY0" fmla="*/ 0 h 792088"/>
              <a:gd name="connsiteX1" fmla="*/ 7723371 w 7723371"/>
              <a:gd name="connsiteY1" fmla="*/ 19023 h 792088"/>
              <a:gd name="connsiteX2" fmla="*/ 7435339 w 7723371"/>
              <a:gd name="connsiteY2" fmla="*/ 792088 h 792088"/>
              <a:gd name="connsiteX3" fmla="*/ 0 w 7723371"/>
              <a:gd name="connsiteY3" fmla="*/ 792088 h 792088"/>
              <a:gd name="connsiteX4" fmla="*/ 0 w 7723371"/>
              <a:gd name="connsiteY4" fmla="*/ 0 h 792088"/>
              <a:gd name="connsiteX0" fmla="*/ 0 w 7435339"/>
              <a:gd name="connsiteY0" fmla="*/ 0 h 792088"/>
              <a:gd name="connsiteX1" fmla="*/ 6701228 w 7435339"/>
              <a:gd name="connsiteY1" fmla="*/ 19023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6723847"/>
              <a:gd name="connsiteY0" fmla="*/ 0 h 792088"/>
              <a:gd name="connsiteX1" fmla="*/ 6701228 w 6723847"/>
              <a:gd name="connsiteY1" fmla="*/ 19023 h 792088"/>
              <a:gd name="connsiteX2" fmla="*/ 6723847 w 6723847"/>
              <a:gd name="connsiteY2" fmla="*/ 792088 h 792088"/>
              <a:gd name="connsiteX3" fmla="*/ 0 w 6723847"/>
              <a:gd name="connsiteY3" fmla="*/ 792088 h 792088"/>
              <a:gd name="connsiteX4" fmla="*/ 0 w 6723847"/>
              <a:gd name="connsiteY4" fmla="*/ 0 h 792088"/>
              <a:gd name="connsiteX0" fmla="*/ 0 w 6731291"/>
              <a:gd name="connsiteY0" fmla="*/ 0 h 792088"/>
              <a:gd name="connsiteX1" fmla="*/ 6731291 w 6731291"/>
              <a:gd name="connsiteY1" fmla="*/ 19023 h 792088"/>
              <a:gd name="connsiteX2" fmla="*/ 6723847 w 6731291"/>
              <a:gd name="connsiteY2" fmla="*/ 792088 h 792088"/>
              <a:gd name="connsiteX3" fmla="*/ 0 w 6731291"/>
              <a:gd name="connsiteY3" fmla="*/ 792088 h 792088"/>
              <a:gd name="connsiteX4" fmla="*/ 0 w 6731291"/>
              <a:gd name="connsiteY4" fmla="*/ 0 h 79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31291" h="792088">
                <a:moveTo>
                  <a:pt x="0" y="0"/>
                </a:moveTo>
                <a:lnTo>
                  <a:pt x="6731291" y="19023"/>
                </a:lnTo>
                <a:cubicBezTo>
                  <a:pt x="6728810" y="276711"/>
                  <a:pt x="6726328" y="534400"/>
                  <a:pt x="6723847" y="792088"/>
                </a:cubicBezTo>
                <a:lnTo>
                  <a:pt x="0" y="79208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  <a:shade val="30000"/>
                  <a:satMod val="115000"/>
                </a:schemeClr>
              </a:gs>
              <a:gs pos="50000">
                <a:schemeClr val="tx2">
                  <a:lumMod val="75000"/>
                  <a:shade val="67500"/>
                  <a:satMod val="115000"/>
                </a:schemeClr>
              </a:gs>
              <a:gs pos="100000">
                <a:schemeClr val="tx2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71500" y="68213"/>
            <a:ext cx="9001000" cy="785819"/>
          </a:xfrm>
          <a:ln>
            <a:miter lim="800000"/>
            <a:headEnd/>
            <a:tailEnd/>
          </a:ln>
          <a:extLst/>
        </p:spPr>
        <p:txBody>
          <a:bodyPr rtlCol="0" anchor="t">
            <a:no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spc="-151" dirty="0" smtClean="0">
                <a:ln w="11430"/>
                <a:solidFill>
                  <a:srgbClr val="F8F8F8"/>
                </a:solidFill>
                <a:latin typeface="Rockwell" panose="02060603020205020403" pitchFamily="18" charset="0"/>
              </a:rPr>
              <a:t>Geographic Distance</a:t>
            </a:r>
            <a:endParaRPr lang="en-US" sz="3200" b="1" spc="-151" dirty="0">
              <a:ln w="11430"/>
              <a:solidFill>
                <a:srgbClr val="F8F8F8"/>
              </a:solidFill>
              <a:latin typeface="Rockwell" panose="02060603020205020403" pitchFamily="18" charset="0"/>
            </a:endParaRPr>
          </a:p>
        </p:txBody>
      </p:sp>
      <p:sp>
        <p:nvSpPr>
          <p:cNvPr id="42" name="Subtitle 2"/>
          <p:cNvSpPr txBox="1">
            <a:spLocks/>
          </p:cNvSpPr>
          <p:nvPr/>
        </p:nvSpPr>
        <p:spPr bwMode="auto">
          <a:xfrm>
            <a:off x="233011" y="1154482"/>
            <a:ext cx="8677989" cy="504056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32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  <a:lvl2pPr marL="457178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8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2pPr>
            <a:lvl3pPr marL="914354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3pPr>
            <a:lvl4pPr marL="1371532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4pPr>
            <a:lvl5pPr marL="1828709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5pPr>
            <a:lvl6pPr marL="2285886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6pPr>
            <a:lvl7pPr marL="2743062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7pPr>
            <a:lvl8pPr marL="320024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8pPr>
            <a:lvl9pPr marL="3657418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9pPr>
          </a:lstStyle>
          <a:p>
            <a:pPr algn="l"/>
            <a:r>
              <a:rPr lang="en-US" sz="2000" dirty="0" smtClean="0">
                <a:solidFill>
                  <a:schemeClr val="tx1"/>
                </a:solidFill>
              </a:rPr>
              <a:t>1- </a:t>
            </a:r>
            <a:r>
              <a:rPr lang="en-US" sz="2000" dirty="0">
                <a:solidFill>
                  <a:schemeClr val="tx1"/>
                </a:solidFill>
              </a:rPr>
              <a:t>Planar </a:t>
            </a:r>
            <a:r>
              <a:rPr lang="en-US" sz="2000" dirty="0" smtClean="0">
                <a:solidFill>
                  <a:schemeClr val="tx1"/>
                </a:solidFill>
              </a:rPr>
              <a:t>distance</a:t>
            </a:r>
            <a:r>
              <a:rPr lang="en-US" sz="2000" dirty="0">
                <a:solidFill>
                  <a:schemeClr val="tx1"/>
                </a:solidFill>
              </a:rPr>
              <a:t/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sz="2000" dirty="0" smtClean="0">
                <a:solidFill>
                  <a:schemeClr val="tx1"/>
                </a:solidFill>
              </a:rPr>
              <a:t>2- </a:t>
            </a:r>
            <a:r>
              <a:rPr lang="en-US" sz="2000" dirty="0">
                <a:solidFill>
                  <a:schemeClr val="tx1"/>
                </a:solidFill>
              </a:rPr>
              <a:t>Geodesic </a:t>
            </a:r>
            <a:r>
              <a:rPr lang="en-US" sz="2000" dirty="0" smtClean="0">
                <a:solidFill>
                  <a:schemeClr val="tx1"/>
                </a:solidFill>
              </a:rPr>
              <a:t>distance</a:t>
            </a:r>
            <a:r>
              <a:rPr lang="en-US" sz="2000" dirty="0">
                <a:solidFill>
                  <a:schemeClr val="tx1"/>
                </a:solidFill>
              </a:rPr>
              <a:t/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sz="2000" dirty="0">
                <a:solidFill>
                  <a:schemeClr val="tx1"/>
                </a:solidFill>
              </a:rPr>
              <a:t>3</a:t>
            </a:r>
            <a:r>
              <a:rPr lang="en-US" sz="2000" dirty="0" smtClean="0">
                <a:solidFill>
                  <a:schemeClr val="tx1"/>
                </a:solidFill>
              </a:rPr>
              <a:t>- </a:t>
            </a:r>
            <a:r>
              <a:rPr lang="en-US" sz="2000" dirty="0">
                <a:solidFill>
                  <a:schemeClr val="tx1"/>
                </a:solidFill>
              </a:rPr>
              <a:t>Pixel to </a:t>
            </a:r>
            <a:r>
              <a:rPr lang="en-US" sz="2000" dirty="0" smtClean="0">
                <a:solidFill>
                  <a:schemeClr val="tx1"/>
                </a:solidFill>
              </a:rPr>
              <a:t>pixel</a:t>
            </a:r>
            <a:r>
              <a:rPr lang="en-US" sz="2000" dirty="0">
                <a:solidFill>
                  <a:schemeClr val="tx1"/>
                </a:solidFill>
              </a:rPr>
              <a:t/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sz="2000" dirty="0" smtClean="0">
                <a:solidFill>
                  <a:schemeClr val="tx1"/>
                </a:solidFill>
              </a:rPr>
              <a:t>4- </a:t>
            </a:r>
            <a:r>
              <a:rPr lang="en-US" sz="2000" dirty="0">
                <a:solidFill>
                  <a:schemeClr val="tx1"/>
                </a:solidFill>
              </a:rPr>
              <a:t>Partially surface adjusted </a:t>
            </a:r>
          </a:p>
          <a:p>
            <a:pPr marL="742928" lvl="1" indent="-285750" algn="l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Closest</a:t>
            </a:r>
            <a:endParaRPr lang="en-US" sz="1600" dirty="0">
              <a:solidFill>
                <a:schemeClr val="tx1"/>
              </a:solidFill>
            </a:endParaRPr>
          </a:p>
          <a:p>
            <a:pPr marL="742928" lvl="1" indent="-285750" algn="l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TIN</a:t>
            </a:r>
            <a:endParaRPr lang="en-US" sz="1600" dirty="0">
              <a:solidFill>
                <a:schemeClr val="tx1"/>
              </a:solidFill>
            </a:endParaRPr>
          </a:p>
          <a:p>
            <a:pPr marL="742928" lvl="1" indent="-285750" algn="l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Natural </a:t>
            </a:r>
            <a:r>
              <a:rPr lang="en-US" sz="1600" dirty="0">
                <a:solidFill>
                  <a:schemeClr val="tx1"/>
                </a:solidFill>
              </a:rPr>
              <a:t>Neighbor</a:t>
            </a:r>
          </a:p>
          <a:p>
            <a:pPr marL="742928" lvl="1" indent="-285750" algn="l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Weighted average</a:t>
            </a:r>
            <a:endParaRPr lang="en-US" sz="2000" dirty="0" smtClean="0">
              <a:solidFill>
                <a:schemeClr val="tx1"/>
              </a:solidFill>
            </a:endParaRPr>
          </a:p>
          <a:p>
            <a:pPr algn="l"/>
            <a:r>
              <a:rPr lang="en-US" sz="2000" dirty="0" smtClean="0">
                <a:solidFill>
                  <a:schemeClr val="tx1"/>
                </a:solidFill>
              </a:rPr>
              <a:t>5- </a:t>
            </a:r>
            <a:r>
              <a:rPr lang="en-US" sz="2000" dirty="0">
                <a:solidFill>
                  <a:schemeClr val="tx1"/>
                </a:solidFill>
              </a:rPr>
              <a:t>Complete surface adjusted (Proposed method)</a:t>
            </a:r>
          </a:p>
          <a:p>
            <a:pPr marL="742928" lvl="1" indent="-285750" algn="l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Bi-linear</a:t>
            </a:r>
            <a:endParaRPr lang="en-US" sz="1600" dirty="0">
              <a:solidFill>
                <a:schemeClr val="tx1"/>
              </a:solidFill>
            </a:endParaRPr>
          </a:p>
          <a:p>
            <a:pPr marL="742928" lvl="1" indent="-285750" algn="l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Bi-cubic</a:t>
            </a:r>
            <a:endParaRPr lang="en-US" sz="1600" dirty="0">
              <a:solidFill>
                <a:schemeClr val="tx1"/>
              </a:solidFill>
            </a:endParaRPr>
          </a:p>
          <a:p>
            <a:pPr marL="742928" lvl="1" indent="-285750" algn="l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Bi-quadratic</a:t>
            </a:r>
            <a:endParaRPr lang="en-US" sz="1600" dirty="0">
              <a:solidFill>
                <a:schemeClr val="tx1"/>
              </a:solidFill>
            </a:endParaRPr>
          </a:p>
          <a:p>
            <a:pPr marL="0" lvl="1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spc="-150" dirty="0" smtClean="0">
              <a:solidFill>
                <a:schemeClr val="tx1"/>
              </a:solidFill>
            </a:endParaRPr>
          </a:p>
          <a:p>
            <a:pPr marL="914400" lvl="1" indent="-457200" algn="l" eaLnBrk="1" fontAlgn="auto" hangingPunct="1">
              <a:spcBef>
                <a:spcPts val="0"/>
              </a:spcBef>
              <a:spcAft>
                <a:spcPts val="0"/>
              </a:spcAft>
              <a:buBlip>
                <a:blip r:embed="rId3"/>
              </a:buBlip>
              <a:defRPr/>
            </a:pPr>
            <a:endParaRPr lang="en-US" sz="1500" kern="0" spc="-150" dirty="0" smtClean="0">
              <a:solidFill>
                <a:schemeClr val="tx1"/>
              </a:solidFill>
              <a:latin typeface="Calibri"/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spc="-150" dirty="0" smtClean="0">
              <a:solidFill>
                <a:schemeClr val="tx1"/>
              </a:solidFill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00" spc="-1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947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 advTm="2968">
        <p:fade/>
      </p:transition>
    </mc:Choice>
    <mc:Fallback xmlns="">
      <p:transition advClick="0" advTm="296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48"/>
          <p:cNvGrpSpPr>
            <a:grpSpLocks/>
          </p:cNvGrpSpPr>
          <p:nvPr/>
        </p:nvGrpSpPr>
        <p:grpSpPr bwMode="auto">
          <a:xfrm>
            <a:off x="0" y="-14288"/>
            <a:ext cx="9144000" cy="6872288"/>
            <a:chOff x="0" y="-14263"/>
            <a:chExt cx="9144000" cy="6872263"/>
          </a:xfrm>
        </p:grpSpPr>
        <p:sp>
          <p:nvSpPr>
            <p:cNvPr id="50" name="Rectangle 49"/>
            <p:cNvSpPr/>
            <p:nvPr/>
          </p:nvSpPr>
          <p:spPr>
            <a:xfrm>
              <a:off x="0" y="-14263"/>
              <a:ext cx="9144000" cy="687226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0" y="68239"/>
              <a:ext cx="9144000" cy="6789761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95000"/>
                    <a:lumOff val="5000"/>
                  </a:schemeClr>
                </a:gs>
                <a:gs pos="0">
                  <a:schemeClr val="tx1">
                    <a:lumMod val="65000"/>
                    <a:lumOff val="3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glow>
                <a:schemeClr val="tx1">
                  <a:alpha val="0"/>
                </a:schemeClr>
              </a:glow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5" name="Rectangle 24"/>
          <p:cNvSpPr/>
          <p:nvPr/>
        </p:nvSpPr>
        <p:spPr>
          <a:xfrm>
            <a:off x="233011" y="620692"/>
            <a:ext cx="8677989" cy="5876781"/>
          </a:xfrm>
          <a:prstGeom prst="rect">
            <a:avLst/>
          </a:prstGeom>
          <a:solidFill>
            <a:schemeClr val="tx1">
              <a:alpha val="21961"/>
            </a:schemeClr>
          </a:solidFill>
          <a:ln>
            <a:noFill/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0" y="-14288"/>
            <a:ext cx="9144000" cy="6872289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87000"/>
                </a:schemeClr>
              </a:gs>
              <a:gs pos="13000">
                <a:schemeClr val="bg1"/>
              </a:gs>
            </a:gsLst>
            <a:lin ang="5400000" scaled="1"/>
            <a:tileRect/>
          </a:gradFill>
          <a:ln w="12700">
            <a:solidFill>
              <a:schemeClr val="bg1">
                <a:lumMod val="65000"/>
              </a:schemeClr>
            </a:solidFill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Freeform 15"/>
          <p:cNvSpPr/>
          <p:nvPr/>
        </p:nvSpPr>
        <p:spPr>
          <a:xfrm>
            <a:off x="0" y="-14289"/>
            <a:ext cx="9144000" cy="936104"/>
          </a:xfrm>
          <a:custGeom>
            <a:avLst/>
            <a:gdLst>
              <a:gd name="connsiteX0" fmla="*/ 0 w 7435339"/>
              <a:gd name="connsiteY0" fmla="*/ 0 h 792088"/>
              <a:gd name="connsiteX1" fmla="*/ 7435339 w 7435339"/>
              <a:gd name="connsiteY1" fmla="*/ 0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7723371"/>
              <a:gd name="connsiteY0" fmla="*/ 0 h 792088"/>
              <a:gd name="connsiteX1" fmla="*/ 7723371 w 7723371"/>
              <a:gd name="connsiteY1" fmla="*/ 19023 h 792088"/>
              <a:gd name="connsiteX2" fmla="*/ 7435339 w 7723371"/>
              <a:gd name="connsiteY2" fmla="*/ 792088 h 792088"/>
              <a:gd name="connsiteX3" fmla="*/ 0 w 7723371"/>
              <a:gd name="connsiteY3" fmla="*/ 792088 h 792088"/>
              <a:gd name="connsiteX4" fmla="*/ 0 w 7723371"/>
              <a:gd name="connsiteY4" fmla="*/ 0 h 792088"/>
              <a:gd name="connsiteX0" fmla="*/ 0 w 7435339"/>
              <a:gd name="connsiteY0" fmla="*/ 0 h 792088"/>
              <a:gd name="connsiteX1" fmla="*/ 6701228 w 7435339"/>
              <a:gd name="connsiteY1" fmla="*/ 19023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6723847"/>
              <a:gd name="connsiteY0" fmla="*/ 0 h 792088"/>
              <a:gd name="connsiteX1" fmla="*/ 6701228 w 6723847"/>
              <a:gd name="connsiteY1" fmla="*/ 19023 h 792088"/>
              <a:gd name="connsiteX2" fmla="*/ 6723847 w 6723847"/>
              <a:gd name="connsiteY2" fmla="*/ 792088 h 792088"/>
              <a:gd name="connsiteX3" fmla="*/ 0 w 6723847"/>
              <a:gd name="connsiteY3" fmla="*/ 792088 h 792088"/>
              <a:gd name="connsiteX4" fmla="*/ 0 w 6723847"/>
              <a:gd name="connsiteY4" fmla="*/ 0 h 792088"/>
              <a:gd name="connsiteX0" fmla="*/ 0 w 6731291"/>
              <a:gd name="connsiteY0" fmla="*/ 0 h 792088"/>
              <a:gd name="connsiteX1" fmla="*/ 6731291 w 6731291"/>
              <a:gd name="connsiteY1" fmla="*/ 19023 h 792088"/>
              <a:gd name="connsiteX2" fmla="*/ 6723847 w 6731291"/>
              <a:gd name="connsiteY2" fmla="*/ 792088 h 792088"/>
              <a:gd name="connsiteX3" fmla="*/ 0 w 6731291"/>
              <a:gd name="connsiteY3" fmla="*/ 792088 h 792088"/>
              <a:gd name="connsiteX4" fmla="*/ 0 w 6731291"/>
              <a:gd name="connsiteY4" fmla="*/ 0 h 79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31291" h="792088">
                <a:moveTo>
                  <a:pt x="0" y="0"/>
                </a:moveTo>
                <a:lnTo>
                  <a:pt x="6731291" y="19023"/>
                </a:lnTo>
                <a:cubicBezTo>
                  <a:pt x="6728810" y="276711"/>
                  <a:pt x="6726328" y="534400"/>
                  <a:pt x="6723847" y="792088"/>
                </a:cubicBezTo>
                <a:lnTo>
                  <a:pt x="0" y="79208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  <a:shade val="30000"/>
                  <a:satMod val="115000"/>
                </a:schemeClr>
              </a:gs>
              <a:gs pos="50000">
                <a:schemeClr val="tx2">
                  <a:lumMod val="75000"/>
                  <a:shade val="67500"/>
                  <a:satMod val="115000"/>
                </a:schemeClr>
              </a:gs>
              <a:gs pos="100000">
                <a:schemeClr val="tx2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71500" y="68213"/>
            <a:ext cx="9001000" cy="785819"/>
          </a:xfrm>
          <a:ln>
            <a:miter lim="800000"/>
            <a:headEnd/>
            <a:tailEnd/>
          </a:ln>
          <a:extLst/>
        </p:spPr>
        <p:txBody>
          <a:bodyPr rtlCol="0" anchor="t">
            <a:no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spc="-151" dirty="0" smtClean="0">
                <a:ln w="11430"/>
                <a:solidFill>
                  <a:srgbClr val="F8F8F8"/>
                </a:solidFill>
                <a:latin typeface="Rockwell" panose="02060603020205020403" pitchFamily="18" charset="0"/>
              </a:rPr>
              <a:t>Geographic Distance</a:t>
            </a:r>
            <a:endParaRPr lang="en-US" sz="3200" b="1" spc="-151" dirty="0">
              <a:ln w="11430"/>
              <a:solidFill>
                <a:srgbClr val="F8F8F8"/>
              </a:solidFill>
              <a:latin typeface="Rockwell" panose="02060603020205020403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6747" y="2451816"/>
            <a:ext cx="3046521" cy="3036366"/>
          </a:xfrm>
          <a:prstGeom prst="rect">
            <a:avLst/>
          </a:prstGeom>
        </p:spPr>
      </p:pic>
      <p:sp>
        <p:nvSpPr>
          <p:cNvPr id="42" name="Subtitle 2"/>
          <p:cNvSpPr txBox="1">
            <a:spLocks/>
          </p:cNvSpPr>
          <p:nvPr/>
        </p:nvSpPr>
        <p:spPr bwMode="auto">
          <a:xfrm>
            <a:off x="288980" y="1760291"/>
            <a:ext cx="4359911" cy="504056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32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  <a:lvl2pPr marL="457178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8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2pPr>
            <a:lvl3pPr marL="914354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3pPr>
            <a:lvl4pPr marL="1371532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4pPr>
            <a:lvl5pPr marL="1828709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5pPr>
            <a:lvl6pPr marL="2285886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6pPr>
            <a:lvl7pPr marL="2743062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7pPr>
            <a:lvl8pPr marL="320024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8pPr>
            <a:lvl9pPr marL="3657418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9pPr>
          </a:lstStyle>
          <a:p>
            <a:pPr marL="0" lvl="1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>
                <a:solidFill>
                  <a:prstClr val="black"/>
                </a:solidFill>
                <a:latin typeface="Calibri" panose="020F0502020204030204"/>
                <a:cs typeface="+mn-cs"/>
              </a:rPr>
              <a:t>Planar distance </a:t>
            </a:r>
            <a:r>
              <a:rPr lang="en-US" sz="320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(2D)</a:t>
            </a:r>
          </a:p>
          <a:p>
            <a:pPr marL="0" lvl="1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 kern="0" spc="-150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914400" lvl="1" indent="-457200" algn="l" eaLnBrk="1" fontAlgn="auto" hangingPunct="1">
              <a:spcBef>
                <a:spcPts val="0"/>
              </a:spcBef>
              <a:spcAft>
                <a:spcPts val="0"/>
              </a:spcAft>
              <a:buBlip>
                <a:blip r:embed="rId4"/>
              </a:buBlip>
              <a:defRPr/>
            </a:pPr>
            <a:endParaRPr lang="en-US" sz="2400" kern="0" spc="-150" dirty="0" smtClean="0">
              <a:solidFill>
                <a:srgbClr val="1F497D">
                  <a:lumMod val="75000"/>
                </a:srgbClr>
              </a:solidFill>
              <a:latin typeface="Calibri"/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spc="-150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spc="-15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3" name="Subtitle 2"/>
          <p:cNvSpPr txBox="1">
            <a:spLocks/>
          </p:cNvSpPr>
          <p:nvPr/>
        </p:nvSpPr>
        <p:spPr bwMode="auto">
          <a:xfrm>
            <a:off x="4846952" y="1760291"/>
            <a:ext cx="4066112" cy="504056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32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  <a:lvl2pPr marL="457178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8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2pPr>
            <a:lvl3pPr marL="914354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3pPr>
            <a:lvl4pPr marL="1371532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4pPr>
            <a:lvl5pPr marL="1828709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5pPr>
            <a:lvl6pPr marL="2285886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6pPr>
            <a:lvl7pPr marL="2743062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7pPr>
            <a:lvl8pPr marL="320024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8pPr>
            <a:lvl9pPr marL="3657418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9pPr>
          </a:lstStyle>
          <a:p>
            <a:pPr marL="0" lvl="1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Geodesic distance (3D)</a:t>
            </a:r>
          </a:p>
          <a:p>
            <a:pPr marL="0" lvl="1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 kern="0" spc="-150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914400" lvl="1" indent="-457200" algn="l" eaLnBrk="1" fontAlgn="auto" hangingPunct="1">
              <a:spcBef>
                <a:spcPts val="0"/>
              </a:spcBef>
              <a:spcAft>
                <a:spcPts val="0"/>
              </a:spcAft>
              <a:buBlip>
                <a:blip r:embed="rId4"/>
              </a:buBlip>
              <a:defRPr/>
            </a:pPr>
            <a:endParaRPr lang="en-US" sz="2400" kern="0" spc="-150" dirty="0" smtClean="0">
              <a:solidFill>
                <a:srgbClr val="1F497D">
                  <a:lumMod val="75000"/>
                </a:srgbClr>
              </a:solidFill>
              <a:latin typeface="Calibri"/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spc="-150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spc="-15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 rotWithShape="1">
          <a:blip r:embed="rId5"/>
          <a:srcRect l="4491" t="2330" r="6702" b="22221"/>
          <a:stretch/>
        </p:blipFill>
        <p:spPr>
          <a:xfrm>
            <a:off x="288980" y="2534990"/>
            <a:ext cx="4207149" cy="2857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154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 advTm="2968">
        <p:fade/>
      </p:transition>
    </mc:Choice>
    <mc:Fallback xmlns="">
      <p:transition advClick="0" advTm="296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48"/>
          <p:cNvGrpSpPr>
            <a:grpSpLocks/>
          </p:cNvGrpSpPr>
          <p:nvPr/>
        </p:nvGrpSpPr>
        <p:grpSpPr bwMode="auto">
          <a:xfrm>
            <a:off x="0" y="-14288"/>
            <a:ext cx="9144000" cy="6872288"/>
            <a:chOff x="0" y="-14263"/>
            <a:chExt cx="9144000" cy="6872263"/>
          </a:xfrm>
        </p:grpSpPr>
        <p:sp>
          <p:nvSpPr>
            <p:cNvPr id="50" name="Rectangle 49"/>
            <p:cNvSpPr/>
            <p:nvPr/>
          </p:nvSpPr>
          <p:spPr>
            <a:xfrm>
              <a:off x="0" y="-14263"/>
              <a:ext cx="9144000" cy="687226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0" y="68239"/>
              <a:ext cx="9144000" cy="6789761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95000"/>
                    <a:lumOff val="5000"/>
                  </a:schemeClr>
                </a:gs>
                <a:gs pos="0">
                  <a:schemeClr val="tx1">
                    <a:lumMod val="65000"/>
                    <a:lumOff val="3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glow>
                <a:schemeClr val="tx1">
                  <a:alpha val="0"/>
                </a:schemeClr>
              </a:glow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5" name="Rectangle 24"/>
          <p:cNvSpPr/>
          <p:nvPr/>
        </p:nvSpPr>
        <p:spPr>
          <a:xfrm>
            <a:off x="233011" y="620692"/>
            <a:ext cx="8677989" cy="5876781"/>
          </a:xfrm>
          <a:prstGeom prst="rect">
            <a:avLst/>
          </a:prstGeom>
          <a:solidFill>
            <a:schemeClr val="tx1">
              <a:alpha val="21961"/>
            </a:schemeClr>
          </a:solidFill>
          <a:ln>
            <a:noFill/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0" y="-14288"/>
            <a:ext cx="9144000" cy="6872289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87000"/>
                </a:schemeClr>
              </a:gs>
              <a:gs pos="13000">
                <a:schemeClr val="bg1"/>
              </a:gs>
            </a:gsLst>
            <a:lin ang="5400000" scaled="1"/>
            <a:tileRect/>
          </a:gradFill>
          <a:ln w="12700">
            <a:solidFill>
              <a:schemeClr val="bg1">
                <a:lumMod val="65000"/>
              </a:schemeClr>
            </a:solidFill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Freeform 15"/>
          <p:cNvSpPr/>
          <p:nvPr/>
        </p:nvSpPr>
        <p:spPr>
          <a:xfrm>
            <a:off x="0" y="-14289"/>
            <a:ext cx="9144000" cy="936104"/>
          </a:xfrm>
          <a:custGeom>
            <a:avLst/>
            <a:gdLst>
              <a:gd name="connsiteX0" fmla="*/ 0 w 7435339"/>
              <a:gd name="connsiteY0" fmla="*/ 0 h 792088"/>
              <a:gd name="connsiteX1" fmla="*/ 7435339 w 7435339"/>
              <a:gd name="connsiteY1" fmla="*/ 0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7723371"/>
              <a:gd name="connsiteY0" fmla="*/ 0 h 792088"/>
              <a:gd name="connsiteX1" fmla="*/ 7723371 w 7723371"/>
              <a:gd name="connsiteY1" fmla="*/ 19023 h 792088"/>
              <a:gd name="connsiteX2" fmla="*/ 7435339 w 7723371"/>
              <a:gd name="connsiteY2" fmla="*/ 792088 h 792088"/>
              <a:gd name="connsiteX3" fmla="*/ 0 w 7723371"/>
              <a:gd name="connsiteY3" fmla="*/ 792088 h 792088"/>
              <a:gd name="connsiteX4" fmla="*/ 0 w 7723371"/>
              <a:gd name="connsiteY4" fmla="*/ 0 h 792088"/>
              <a:gd name="connsiteX0" fmla="*/ 0 w 7435339"/>
              <a:gd name="connsiteY0" fmla="*/ 0 h 792088"/>
              <a:gd name="connsiteX1" fmla="*/ 6701228 w 7435339"/>
              <a:gd name="connsiteY1" fmla="*/ 19023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6723847"/>
              <a:gd name="connsiteY0" fmla="*/ 0 h 792088"/>
              <a:gd name="connsiteX1" fmla="*/ 6701228 w 6723847"/>
              <a:gd name="connsiteY1" fmla="*/ 19023 h 792088"/>
              <a:gd name="connsiteX2" fmla="*/ 6723847 w 6723847"/>
              <a:gd name="connsiteY2" fmla="*/ 792088 h 792088"/>
              <a:gd name="connsiteX3" fmla="*/ 0 w 6723847"/>
              <a:gd name="connsiteY3" fmla="*/ 792088 h 792088"/>
              <a:gd name="connsiteX4" fmla="*/ 0 w 6723847"/>
              <a:gd name="connsiteY4" fmla="*/ 0 h 792088"/>
              <a:gd name="connsiteX0" fmla="*/ 0 w 6731291"/>
              <a:gd name="connsiteY0" fmla="*/ 0 h 792088"/>
              <a:gd name="connsiteX1" fmla="*/ 6731291 w 6731291"/>
              <a:gd name="connsiteY1" fmla="*/ 19023 h 792088"/>
              <a:gd name="connsiteX2" fmla="*/ 6723847 w 6731291"/>
              <a:gd name="connsiteY2" fmla="*/ 792088 h 792088"/>
              <a:gd name="connsiteX3" fmla="*/ 0 w 6731291"/>
              <a:gd name="connsiteY3" fmla="*/ 792088 h 792088"/>
              <a:gd name="connsiteX4" fmla="*/ 0 w 6731291"/>
              <a:gd name="connsiteY4" fmla="*/ 0 h 79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31291" h="792088">
                <a:moveTo>
                  <a:pt x="0" y="0"/>
                </a:moveTo>
                <a:lnTo>
                  <a:pt x="6731291" y="19023"/>
                </a:lnTo>
                <a:cubicBezTo>
                  <a:pt x="6728810" y="276711"/>
                  <a:pt x="6726328" y="534400"/>
                  <a:pt x="6723847" y="792088"/>
                </a:cubicBezTo>
                <a:lnTo>
                  <a:pt x="0" y="79208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  <a:shade val="30000"/>
                  <a:satMod val="115000"/>
                </a:schemeClr>
              </a:gs>
              <a:gs pos="50000">
                <a:schemeClr val="tx2">
                  <a:lumMod val="75000"/>
                  <a:shade val="67500"/>
                  <a:satMod val="115000"/>
                </a:schemeClr>
              </a:gs>
              <a:gs pos="100000">
                <a:schemeClr val="tx2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107504" y="180750"/>
            <a:ext cx="9001000" cy="654513"/>
          </a:xfrm>
          <a:ln>
            <a:miter lim="800000"/>
            <a:headEnd/>
            <a:tailEnd/>
          </a:ln>
          <a:extLst/>
        </p:spPr>
        <p:txBody>
          <a:bodyPr rtlCol="0" anchor="t">
            <a:no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spc="-151" dirty="0">
                <a:ln w="11430"/>
                <a:solidFill>
                  <a:srgbClr val="F8F8F8"/>
                </a:solidFill>
                <a:latin typeface="Rockwell" panose="02060603020205020403" pitchFamily="18" charset="0"/>
              </a:rPr>
              <a:t>S</a:t>
            </a:r>
            <a:r>
              <a:rPr lang="en-US" sz="3600" b="1" spc="-151" dirty="0" smtClean="0">
                <a:ln w="11430"/>
                <a:solidFill>
                  <a:srgbClr val="F8F8F8"/>
                </a:solidFill>
                <a:latin typeface="Rockwell" panose="02060603020205020403" pitchFamily="18" charset="0"/>
              </a:rPr>
              <a:t>urface-adjusted </a:t>
            </a:r>
            <a:r>
              <a:rPr lang="en-US" sz="3600" b="1" spc="-151" dirty="0">
                <a:ln w="11430"/>
                <a:solidFill>
                  <a:srgbClr val="F8F8F8"/>
                </a:solidFill>
                <a:latin typeface="Rockwell" panose="02060603020205020403" pitchFamily="18" charset="0"/>
              </a:rPr>
              <a:t>distance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640" y="929306"/>
            <a:ext cx="6768752" cy="592120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004317"/>
            <a:ext cx="4111116" cy="235267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9426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 advTm="2968">
        <p:fade/>
      </p:transition>
    </mc:Choice>
    <mc:Fallback xmlns="">
      <p:transition advClick="0" advTm="296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48"/>
          <p:cNvGrpSpPr>
            <a:grpSpLocks/>
          </p:cNvGrpSpPr>
          <p:nvPr/>
        </p:nvGrpSpPr>
        <p:grpSpPr bwMode="auto">
          <a:xfrm>
            <a:off x="0" y="-14288"/>
            <a:ext cx="9144000" cy="6872288"/>
            <a:chOff x="0" y="-14263"/>
            <a:chExt cx="9144000" cy="6872263"/>
          </a:xfrm>
        </p:grpSpPr>
        <p:sp>
          <p:nvSpPr>
            <p:cNvPr id="50" name="Rectangle 49"/>
            <p:cNvSpPr/>
            <p:nvPr/>
          </p:nvSpPr>
          <p:spPr>
            <a:xfrm>
              <a:off x="0" y="-14263"/>
              <a:ext cx="9144000" cy="687226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0" y="68239"/>
              <a:ext cx="9144000" cy="6789761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95000"/>
                    <a:lumOff val="5000"/>
                  </a:schemeClr>
                </a:gs>
                <a:gs pos="0">
                  <a:schemeClr val="tx1">
                    <a:lumMod val="65000"/>
                    <a:lumOff val="3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glow>
                <a:schemeClr val="tx1">
                  <a:alpha val="0"/>
                </a:schemeClr>
              </a:glow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5" name="Rectangle 24"/>
          <p:cNvSpPr/>
          <p:nvPr/>
        </p:nvSpPr>
        <p:spPr>
          <a:xfrm>
            <a:off x="233011" y="620692"/>
            <a:ext cx="8677989" cy="5876781"/>
          </a:xfrm>
          <a:prstGeom prst="rect">
            <a:avLst/>
          </a:prstGeom>
          <a:solidFill>
            <a:schemeClr val="tx1">
              <a:alpha val="21961"/>
            </a:schemeClr>
          </a:solidFill>
          <a:ln>
            <a:noFill/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0" y="-14288"/>
            <a:ext cx="9144000" cy="6872289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87000"/>
                </a:schemeClr>
              </a:gs>
              <a:gs pos="13000">
                <a:schemeClr val="bg1"/>
              </a:gs>
            </a:gsLst>
            <a:lin ang="5400000" scaled="1"/>
            <a:tileRect/>
          </a:gradFill>
          <a:ln w="12700">
            <a:solidFill>
              <a:schemeClr val="bg1">
                <a:lumMod val="65000"/>
              </a:schemeClr>
            </a:solidFill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Freeform 15"/>
          <p:cNvSpPr/>
          <p:nvPr/>
        </p:nvSpPr>
        <p:spPr>
          <a:xfrm>
            <a:off x="0" y="-14289"/>
            <a:ext cx="9144000" cy="936104"/>
          </a:xfrm>
          <a:custGeom>
            <a:avLst/>
            <a:gdLst>
              <a:gd name="connsiteX0" fmla="*/ 0 w 7435339"/>
              <a:gd name="connsiteY0" fmla="*/ 0 h 792088"/>
              <a:gd name="connsiteX1" fmla="*/ 7435339 w 7435339"/>
              <a:gd name="connsiteY1" fmla="*/ 0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7723371"/>
              <a:gd name="connsiteY0" fmla="*/ 0 h 792088"/>
              <a:gd name="connsiteX1" fmla="*/ 7723371 w 7723371"/>
              <a:gd name="connsiteY1" fmla="*/ 19023 h 792088"/>
              <a:gd name="connsiteX2" fmla="*/ 7435339 w 7723371"/>
              <a:gd name="connsiteY2" fmla="*/ 792088 h 792088"/>
              <a:gd name="connsiteX3" fmla="*/ 0 w 7723371"/>
              <a:gd name="connsiteY3" fmla="*/ 792088 h 792088"/>
              <a:gd name="connsiteX4" fmla="*/ 0 w 7723371"/>
              <a:gd name="connsiteY4" fmla="*/ 0 h 792088"/>
              <a:gd name="connsiteX0" fmla="*/ 0 w 7435339"/>
              <a:gd name="connsiteY0" fmla="*/ 0 h 792088"/>
              <a:gd name="connsiteX1" fmla="*/ 6701228 w 7435339"/>
              <a:gd name="connsiteY1" fmla="*/ 19023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6723847"/>
              <a:gd name="connsiteY0" fmla="*/ 0 h 792088"/>
              <a:gd name="connsiteX1" fmla="*/ 6701228 w 6723847"/>
              <a:gd name="connsiteY1" fmla="*/ 19023 h 792088"/>
              <a:gd name="connsiteX2" fmla="*/ 6723847 w 6723847"/>
              <a:gd name="connsiteY2" fmla="*/ 792088 h 792088"/>
              <a:gd name="connsiteX3" fmla="*/ 0 w 6723847"/>
              <a:gd name="connsiteY3" fmla="*/ 792088 h 792088"/>
              <a:gd name="connsiteX4" fmla="*/ 0 w 6723847"/>
              <a:gd name="connsiteY4" fmla="*/ 0 h 792088"/>
              <a:gd name="connsiteX0" fmla="*/ 0 w 6731291"/>
              <a:gd name="connsiteY0" fmla="*/ 0 h 792088"/>
              <a:gd name="connsiteX1" fmla="*/ 6731291 w 6731291"/>
              <a:gd name="connsiteY1" fmla="*/ 19023 h 792088"/>
              <a:gd name="connsiteX2" fmla="*/ 6723847 w 6731291"/>
              <a:gd name="connsiteY2" fmla="*/ 792088 h 792088"/>
              <a:gd name="connsiteX3" fmla="*/ 0 w 6731291"/>
              <a:gd name="connsiteY3" fmla="*/ 792088 h 792088"/>
              <a:gd name="connsiteX4" fmla="*/ 0 w 6731291"/>
              <a:gd name="connsiteY4" fmla="*/ 0 h 79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31291" h="792088">
                <a:moveTo>
                  <a:pt x="0" y="0"/>
                </a:moveTo>
                <a:lnTo>
                  <a:pt x="6731291" y="19023"/>
                </a:lnTo>
                <a:cubicBezTo>
                  <a:pt x="6728810" y="276711"/>
                  <a:pt x="6726328" y="534400"/>
                  <a:pt x="6723847" y="792088"/>
                </a:cubicBezTo>
                <a:lnTo>
                  <a:pt x="0" y="79208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  <a:shade val="30000"/>
                  <a:satMod val="115000"/>
                </a:schemeClr>
              </a:gs>
              <a:gs pos="50000">
                <a:schemeClr val="tx2">
                  <a:lumMod val="75000"/>
                  <a:shade val="67500"/>
                  <a:satMod val="115000"/>
                </a:schemeClr>
              </a:gs>
              <a:gs pos="100000">
                <a:schemeClr val="tx2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107504" y="180750"/>
            <a:ext cx="9001000" cy="654513"/>
          </a:xfrm>
          <a:ln>
            <a:miter lim="800000"/>
            <a:headEnd/>
            <a:tailEnd/>
          </a:ln>
          <a:extLst/>
        </p:spPr>
        <p:txBody>
          <a:bodyPr rtlCol="0" anchor="t">
            <a:no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spc="-151" dirty="0">
                <a:ln w="11430"/>
                <a:solidFill>
                  <a:srgbClr val="F8F8F8"/>
                </a:solidFill>
                <a:latin typeface="Rockwell" panose="02060603020205020403" pitchFamily="18" charset="0"/>
              </a:rPr>
              <a:t>Surface-adjusted distance </a:t>
            </a:r>
            <a:endParaRPr lang="en-US" sz="3100" b="1" spc="-151" dirty="0">
              <a:ln w="11430"/>
              <a:solidFill>
                <a:srgbClr val="F8F8F8"/>
              </a:solidFill>
              <a:latin typeface="Rockwell" panose="02060603020205020403" pitchFamily="18" charset="0"/>
            </a:endParaRPr>
          </a:p>
        </p:txBody>
      </p:sp>
      <p:pic>
        <p:nvPicPr>
          <p:cNvPr id="6" name="Picture 5" descr="6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2682" y="1704232"/>
            <a:ext cx="4465822" cy="3906634"/>
          </a:xfrm>
          <a:prstGeom prst="rect">
            <a:avLst/>
          </a:prstGeom>
        </p:spPr>
      </p:pic>
      <p:pic>
        <p:nvPicPr>
          <p:cNvPr id="10" name="Picture 9" descr="5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700808"/>
            <a:ext cx="4464496" cy="3905474"/>
          </a:xfrm>
          <a:prstGeom prst="rect">
            <a:avLst/>
          </a:prstGeom>
        </p:spPr>
      </p:pic>
      <p:sp>
        <p:nvSpPr>
          <p:cNvPr id="11" name="Subtitle 2"/>
          <p:cNvSpPr txBox="1">
            <a:spLocks/>
          </p:cNvSpPr>
          <p:nvPr/>
        </p:nvSpPr>
        <p:spPr bwMode="auto">
          <a:xfrm>
            <a:off x="971600" y="5700168"/>
            <a:ext cx="2304256" cy="379672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32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  <a:lvl2pPr marL="457178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8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2pPr>
            <a:lvl3pPr marL="914354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3pPr>
            <a:lvl4pPr marL="1371532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4pPr>
            <a:lvl5pPr marL="1828709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5pPr>
            <a:lvl6pPr marL="2285886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6pPr>
            <a:lvl7pPr marL="2743062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7pPr>
            <a:lvl8pPr marL="320024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8pPr>
            <a:lvl9pPr marL="3657418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9pPr>
          </a:lstStyle>
          <a:p>
            <a:pPr marL="0" lvl="1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Pixel 2 Pixel</a:t>
            </a:r>
          </a:p>
          <a:p>
            <a:pPr marL="0" lvl="1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prstClr val="black"/>
              </a:solidFill>
              <a:latin typeface="Calibri" panose="020F0502020204030204"/>
            </a:endParaRPr>
          </a:p>
          <a:p>
            <a:pPr marL="457200" lvl="1" indent="-457200" algn="l" eaLnBrk="1" fontAlgn="auto" hangingPunct="1">
              <a:spcBef>
                <a:spcPts val="0"/>
              </a:spcBef>
              <a:spcAft>
                <a:spcPts val="0"/>
              </a:spcAft>
              <a:buBlip>
                <a:blip r:embed="rId5"/>
              </a:buBlip>
              <a:defRPr/>
            </a:pPr>
            <a:endParaRPr lang="en-US" sz="3200" dirty="0">
              <a:solidFill>
                <a:prstClr val="black"/>
              </a:solidFill>
              <a:latin typeface="Calibri" panose="020F0502020204030204"/>
            </a:endParaRPr>
          </a:p>
          <a:p>
            <a:pPr marL="457200" lvl="1" indent="-457200" algn="l" eaLnBrk="1" fontAlgn="auto" hangingPunct="1">
              <a:spcBef>
                <a:spcPts val="0"/>
              </a:spcBef>
              <a:spcAft>
                <a:spcPts val="0"/>
              </a:spcAft>
              <a:buBlip>
                <a:blip r:embed="rId5"/>
              </a:buBlip>
              <a:defRPr/>
            </a:pPr>
            <a:endParaRPr lang="en-US" sz="3200" dirty="0" smtClean="0">
              <a:solidFill>
                <a:prstClr val="black"/>
              </a:solidFill>
              <a:latin typeface="Calibri" panose="020F0502020204030204"/>
              <a:cs typeface="+mn-cs"/>
            </a:endParaRPr>
          </a:p>
          <a:p>
            <a:pPr marL="0" lvl="1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 kern="0" spc="-150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914400" lvl="1" indent="-457200" algn="l" eaLnBrk="1" fontAlgn="auto" hangingPunct="1">
              <a:spcBef>
                <a:spcPts val="0"/>
              </a:spcBef>
              <a:spcAft>
                <a:spcPts val="0"/>
              </a:spcAft>
              <a:buBlip>
                <a:blip r:embed="rId6"/>
              </a:buBlip>
              <a:defRPr/>
            </a:pPr>
            <a:endParaRPr lang="en-US" sz="2400" kern="0" spc="-150" dirty="0" smtClean="0">
              <a:solidFill>
                <a:srgbClr val="1F497D">
                  <a:lumMod val="75000"/>
                </a:srgbClr>
              </a:solidFill>
              <a:latin typeface="Calibri"/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spc="-150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spc="-15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/>
        </p:nvSpPr>
        <p:spPr bwMode="auto">
          <a:xfrm>
            <a:off x="5868144" y="5664925"/>
            <a:ext cx="2520280" cy="379672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32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  <a:lvl2pPr marL="457178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8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2pPr>
            <a:lvl3pPr marL="914354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3pPr>
            <a:lvl4pPr marL="1371532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4pPr>
            <a:lvl5pPr marL="1828709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5pPr>
            <a:lvl6pPr marL="2285886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6pPr>
            <a:lvl7pPr marL="2743062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7pPr>
            <a:lvl8pPr marL="320024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8pPr>
            <a:lvl9pPr marL="3657418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9pPr>
          </a:lstStyle>
          <a:p>
            <a:pPr marL="0" lvl="1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Sample-based</a:t>
            </a:r>
          </a:p>
          <a:p>
            <a:pPr marL="0" lvl="1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prstClr val="black"/>
              </a:solidFill>
              <a:latin typeface="Calibri" panose="020F0502020204030204"/>
            </a:endParaRPr>
          </a:p>
          <a:p>
            <a:pPr marL="457200" lvl="1" indent="-457200" algn="l" eaLnBrk="1" fontAlgn="auto" hangingPunct="1">
              <a:spcBef>
                <a:spcPts val="0"/>
              </a:spcBef>
              <a:spcAft>
                <a:spcPts val="0"/>
              </a:spcAft>
              <a:buBlip>
                <a:blip r:embed="rId5"/>
              </a:buBlip>
              <a:defRPr/>
            </a:pPr>
            <a:endParaRPr lang="en-US" sz="3200" dirty="0">
              <a:solidFill>
                <a:prstClr val="black"/>
              </a:solidFill>
              <a:latin typeface="Calibri" panose="020F0502020204030204"/>
            </a:endParaRPr>
          </a:p>
          <a:p>
            <a:pPr marL="457200" lvl="1" indent="-457200" algn="l" eaLnBrk="1" fontAlgn="auto" hangingPunct="1">
              <a:spcBef>
                <a:spcPts val="0"/>
              </a:spcBef>
              <a:spcAft>
                <a:spcPts val="0"/>
              </a:spcAft>
              <a:buBlip>
                <a:blip r:embed="rId5"/>
              </a:buBlip>
              <a:defRPr/>
            </a:pPr>
            <a:endParaRPr lang="en-US" sz="3200" dirty="0" smtClean="0">
              <a:solidFill>
                <a:prstClr val="black"/>
              </a:solidFill>
              <a:latin typeface="Calibri" panose="020F0502020204030204"/>
              <a:cs typeface="+mn-cs"/>
            </a:endParaRPr>
          </a:p>
          <a:p>
            <a:pPr marL="0" lvl="1"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 kern="0" spc="-150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914400" lvl="1" indent="-457200" algn="l" eaLnBrk="1" fontAlgn="auto" hangingPunct="1">
              <a:spcBef>
                <a:spcPts val="0"/>
              </a:spcBef>
              <a:spcAft>
                <a:spcPts val="0"/>
              </a:spcAft>
              <a:buBlip>
                <a:blip r:embed="rId6"/>
              </a:buBlip>
              <a:defRPr/>
            </a:pPr>
            <a:endParaRPr lang="en-US" sz="2400" kern="0" spc="-150" dirty="0" smtClean="0">
              <a:solidFill>
                <a:srgbClr val="1F497D">
                  <a:lumMod val="75000"/>
                </a:srgbClr>
              </a:solidFill>
              <a:latin typeface="Calibri"/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spc="-150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spc="-15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0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 advTm="2968">
        <p:fade/>
      </p:transition>
    </mc:Choice>
    <mc:Fallback xmlns="">
      <p:transition advClick="0" advTm="296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48"/>
          <p:cNvGrpSpPr>
            <a:grpSpLocks/>
          </p:cNvGrpSpPr>
          <p:nvPr/>
        </p:nvGrpSpPr>
        <p:grpSpPr bwMode="auto">
          <a:xfrm>
            <a:off x="0" y="-14288"/>
            <a:ext cx="9144000" cy="6872288"/>
            <a:chOff x="0" y="-14263"/>
            <a:chExt cx="9144000" cy="6872263"/>
          </a:xfrm>
        </p:grpSpPr>
        <p:sp>
          <p:nvSpPr>
            <p:cNvPr id="50" name="Rectangle 49"/>
            <p:cNvSpPr/>
            <p:nvPr/>
          </p:nvSpPr>
          <p:spPr>
            <a:xfrm>
              <a:off x="0" y="-14263"/>
              <a:ext cx="9144000" cy="687226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0" y="68239"/>
              <a:ext cx="9144000" cy="6789761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95000"/>
                    <a:lumOff val="5000"/>
                  </a:schemeClr>
                </a:gs>
                <a:gs pos="0">
                  <a:schemeClr val="tx1">
                    <a:lumMod val="65000"/>
                    <a:lumOff val="3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glow>
                <a:schemeClr val="tx1">
                  <a:alpha val="0"/>
                </a:schemeClr>
              </a:glow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5" name="Rectangle 24"/>
          <p:cNvSpPr/>
          <p:nvPr/>
        </p:nvSpPr>
        <p:spPr>
          <a:xfrm>
            <a:off x="233011" y="620692"/>
            <a:ext cx="8677989" cy="5876781"/>
          </a:xfrm>
          <a:prstGeom prst="rect">
            <a:avLst/>
          </a:prstGeom>
          <a:solidFill>
            <a:schemeClr val="tx1">
              <a:alpha val="21961"/>
            </a:schemeClr>
          </a:solidFill>
          <a:ln>
            <a:noFill/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0" y="-14288"/>
            <a:ext cx="9144000" cy="6872289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87000"/>
                </a:schemeClr>
              </a:gs>
              <a:gs pos="13000">
                <a:schemeClr val="bg1"/>
              </a:gs>
            </a:gsLst>
            <a:lin ang="5400000" scaled="1"/>
            <a:tileRect/>
          </a:gradFill>
          <a:ln w="12700">
            <a:solidFill>
              <a:schemeClr val="bg1">
                <a:lumMod val="65000"/>
              </a:schemeClr>
            </a:solidFill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Freeform 15"/>
          <p:cNvSpPr/>
          <p:nvPr/>
        </p:nvSpPr>
        <p:spPr>
          <a:xfrm>
            <a:off x="0" y="-14289"/>
            <a:ext cx="9144000" cy="936104"/>
          </a:xfrm>
          <a:custGeom>
            <a:avLst/>
            <a:gdLst>
              <a:gd name="connsiteX0" fmla="*/ 0 w 7435339"/>
              <a:gd name="connsiteY0" fmla="*/ 0 h 792088"/>
              <a:gd name="connsiteX1" fmla="*/ 7435339 w 7435339"/>
              <a:gd name="connsiteY1" fmla="*/ 0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7723371"/>
              <a:gd name="connsiteY0" fmla="*/ 0 h 792088"/>
              <a:gd name="connsiteX1" fmla="*/ 7723371 w 7723371"/>
              <a:gd name="connsiteY1" fmla="*/ 19023 h 792088"/>
              <a:gd name="connsiteX2" fmla="*/ 7435339 w 7723371"/>
              <a:gd name="connsiteY2" fmla="*/ 792088 h 792088"/>
              <a:gd name="connsiteX3" fmla="*/ 0 w 7723371"/>
              <a:gd name="connsiteY3" fmla="*/ 792088 h 792088"/>
              <a:gd name="connsiteX4" fmla="*/ 0 w 7723371"/>
              <a:gd name="connsiteY4" fmla="*/ 0 h 792088"/>
              <a:gd name="connsiteX0" fmla="*/ 0 w 7435339"/>
              <a:gd name="connsiteY0" fmla="*/ 0 h 792088"/>
              <a:gd name="connsiteX1" fmla="*/ 6701228 w 7435339"/>
              <a:gd name="connsiteY1" fmla="*/ 19023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6723847"/>
              <a:gd name="connsiteY0" fmla="*/ 0 h 792088"/>
              <a:gd name="connsiteX1" fmla="*/ 6701228 w 6723847"/>
              <a:gd name="connsiteY1" fmla="*/ 19023 h 792088"/>
              <a:gd name="connsiteX2" fmla="*/ 6723847 w 6723847"/>
              <a:gd name="connsiteY2" fmla="*/ 792088 h 792088"/>
              <a:gd name="connsiteX3" fmla="*/ 0 w 6723847"/>
              <a:gd name="connsiteY3" fmla="*/ 792088 h 792088"/>
              <a:gd name="connsiteX4" fmla="*/ 0 w 6723847"/>
              <a:gd name="connsiteY4" fmla="*/ 0 h 792088"/>
              <a:gd name="connsiteX0" fmla="*/ 0 w 6731291"/>
              <a:gd name="connsiteY0" fmla="*/ 0 h 792088"/>
              <a:gd name="connsiteX1" fmla="*/ 6731291 w 6731291"/>
              <a:gd name="connsiteY1" fmla="*/ 19023 h 792088"/>
              <a:gd name="connsiteX2" fmla="*/ 6723847 w 6731291"/>
              <a:gd name="connsiteY2" fmla="*/ 792088 h 792088"/>
              <a:gd name="connsiteX3" fmla="*/ 0 w 6731291"/>
              <a:gd name="connsiteY3" fmla="*/ 792088 h 792088"/>
              <a:gd name="connsiteX4" fmla="*/ 0 w 6731291"/>
              <a:gd name="connsiteY4" fmla="*/ 0 h 79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31291" h="792088">
                <a:moveTo>
                  <a:pt x="0" y="0"/>
                </a:moveTo>
                <a:lnTo>
                  <a:pt x="6731291" y="19023"/>
                </a:lnTo>
                <a:cubicBezTo>
                  <a:pt x="6728810" y="276711"/>
                  <a:pt x="6726328" y="534400"/>
                  <a:pt x="6723847" y="792088"/>
                </a:cubicBezTo>
                <a:lnTo>
                  <a:pt x="0" y="79208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  <a:shade val="30000"/>
                  <a:satMod val="115000"/>
                </a:schemeClr>
              </a:gs>
              <a:gs pos="50000">
                <a:schemeClr val="tx2">
                  <a:lumMod val="75000"/>
                  <a:shade val="67500"/>
                  <a:satMod val="115000"/>
                </a:schemeClr>
              </a:gs>
              <a:gs pos="100000">
                <a:schemeClr val="tx2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107504" y="180750"/>
            <a:ext cx="9001000" cy="654513"/>
          </a:xfrm>
          <a:ln>
            <a:miter lim="800000"/>
            <a:headEnd/>
            <a:tailEnd/>
          </a:ln>
          <a:extLst/>
        </p:spPr>
        <p:txBody>
          <a:bodyPr rtlCol="0" anchor="t">
            <a:no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100" b="1" spc="-151" dirty="0" smtClean="0">
                <a:ln w="11430"/>
                <a:solidFill>
                  <a:srgbClr val="F8F8F8"/>
                </a:solidFill>
                <a:latin typeface="Rockwell" panose="02060603020205020403" pitchFamily="18" charset="0"/>
              </a:rPr>
              <a:t>Closest</a:t>
            </a:r>
            <a:endParaRPr lang="en-US" sz="3100" b="1" spc="-151" dirty="0">
              <a:ln w="11430"/>
              <a:solidFill>
                <a:srgbClr val="F8F8F8"/>
              </a:solidFill>
              <a:latin typeface="Rockwell" panose="02060603020205020403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628" y="917765"/>
            <a:ext cx="6768752" cy="5921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058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 advTm="2968">
        <p:fade/>
      </p:transition>
    </mc:Choice>
    <mc:Fallback xmlns="">
      <p:transition advClick="0" advTm="296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48"/>
          <p:cNvGrpSpPr>
            <a:grpSpLocks/>
          </p:cNvGrpSpPr>
          <p:nvPr/>
        </p:nvGrpSpPr>
        <p:grpSpPr bwMode="auto">
          <a:xfrm>
            <a:off x="0" y="-14288"/>
            <a:ext cx="9144000" cy="6872288"/>
            <a:chOff x="0" y="-14263"/>
            <a:chExt cx="9144000" cy="6872263"/>
          </a:xfrm>
        </p:grpSpPr>
        <p:sp>
          <p:nvSpPr>
            <p:cNvPr id="50" name="Rectangle 49"/>
            <p:cNvSpPr/>
            <p:nvPr/>
          </p:nvSpPr>
          <p:spPr>
            <a:xfrm>
              <a:off x="0" y="-14263"/>
              <a:ext cx="9144000" cy="687226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0" y="68239"/>
              <a:ext cx="9144000" cy="6789761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95000"/>
                    <a:lumOff val="5000"/>
                  </a:schemeClr>
                </a:gs>
                <a:gs pos="0">
                  <a:schemeClr val="tx1">
                    <a:lumMod val="65000"/>
                    <a:lumOff val="3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glow>
                <a:schemeClr val="tx1">
                  <a:alpha val="0"/>
                </a:schemeClr>
              </a:glow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5" name="Rectangle 24"/>
          <p:cNvSpPr/>
          <p:nvPr/>
        </p:nvSpPr>
        <p:spPr>
          <a:xfrm>
            <a:off x="233011" y="620692"/>
            <a:ext cx="8677989" cy="5876781"/>
          </a:xfrm>
          <a:prstGeom prst="rect">
            <a:avLst/>
          </a:prstGeom>
          <a:solidFill>
            <a:schemeClr val="tx1">
              <a:alpha val="21961"/>
            </a:schemeClr>
          </a:solidFill>
          <a:ln>
            <a:noFill/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0" y="-14288"/>
            <a:ext cx="9144000" cy="6872289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87000"/>
                </a:schemeClr>
              </a:gs>
              <a:gs pos="13000">
                <a:schemeClr val="bg1"/>
              </a:gs>
            </a:gsLst>
            <a:lin ang="5400000" scaled="1"/>
            <a:tileRect/>
          </a:gradFill>
          <a:ln w="12700">
            <a:solidFill>
              <a:schemeClr val="bg1">
                <a:lumMod val="65000"/>
              </a:schemeClr>
            </a:solidFill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Freeform 15"/>
          <p:cNvSpPr/>
          <p:nvPr/>
        </p:nvSpPr>
        <p:spPr>
          <a:xfrm>
            <a:off x="0" y="-14289"/>
            <a:ext cx="9144000" cy="936104"/>
          </a:xfrm>
          <a:custGeom>
            <a:avLst/>
            <a:gdLst>
              <a:gd name="connsiteX0" fmla="*/ 0 w 7435339"/>
              <a:gd name="connsiteY0" fmla="*/ 0 h 792088"/>
              <a:gd name="connsiteX1" fmla="*/ 7435339 w 7435339"/>
              <a:gd name="connsiteY1" fmla="*/ 0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7723371"/>
              <a:gd name="connsiteY0" fmla="*/ 0 h 792088"/>
              <a:gd name="connsiteX1" fmla="*/ 7723371 w 7723371"/>
              <a:gd name="connsiteY1" fmla="*/ 19023 h 792088"/>
              <a:gd name="connsiteX2" fmla="*/ 7435339 w 7723371"/>
              <a:gd name="connsiteY2" fmla="*/ 792088 h 792088"/>
              <a:gd name="connsiteX3" fmla="*/ 0 w 7723371"/>
              <a:gd name="connsiteY3" fmla="*/ 792088 h 792088"/>
              <a:gd name="connsiteX4" fmla="*/ 0 w 7723371"/>
              <a:gd name="connsiteY4" fmla="*/ 0 h 792088"/>
              <a:gd name="connsiteX0" fmla="*/ 0 w 7435339"/>
              <a:gd name="connsiteY0" fmla="*/ 0 h 792088"/>
              <a:gd name="connsiteX1" fmla="*/ 6701228 w 7435339"/>
              <a:gd name="connsiteY1" fmla="*/ 19023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6723847"/>
              <a:gd name="connsiteY0" fmla="*/ 0 h 792088"/>
              <a:gd name="connsiteX1" fmla="*/ 6701228 w 6723847"/>
              <a:gd name="connsiteY1" fmla="*/ 19023 h 792088"/>
              <a:gd name="connsiteX2" fmla="*/ 6723847 w 6723847"/>
              <a:gd name="connsiteY2" fmla="*/ 792088 h 792088"/>
              <a:gd name="connsiteX3" fmla="*/ 0 w 6723847"/>
              <a:gd name="connsiteY3" fmla="*/ 792088 h 792088"/>
              <a:gd name="connsiteX4" fmla="*/ 0 w 6723847"/>
              <a:gd name="connsiteY4" fmla="*/ 0 h 792088"/>
              <a:gd name="connsiteX0" fmla="*/ 0 w 6731291"/>
              <a:gd name="connsiteY0" fmla="*/ 0 h 792088"/>
              <a:gd name="connsiteX1" fmla="*/ 6731291 w 6731291"/>
              <a:gd name="connsiteY1" fmla="*/ 19023 h 792088"/>
              <a:gd name="connsiteX2" fmla="*/ 6723847 w 6731291"/>
              <a:gd name="connsiteY2" fmla="*/ 792088 h 792088"/>
              <a:gd name="connsiteX3" fmla="*/ 0 w 6731291"/>
              <a:gd name="connsiteY3" fmla="*/ 792088 h 792088"/>
              <a:gd name="connsiteX4" fmla="*/ 0 w 6731291"/>
              <a:gd name="connsiteY4" fmla="*/ 0 h 79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31291" h="792088">
                <a:moveTo>
                  <a:pt x="0" y="0"/>
                </a:moveTo>
                <a:lnTo>
                  <a:pt x="6731291" y="19023"/>
                </a:lnTo>
                <a:cubicBezTo>
                  <a:pt x="6728810" y="276711"/>
                  <a:pt x="6726328" y="534400"/>
                  <a:pt x="6723847" y="792088"/>
                </a:cubicBezTo>
                <a:lnTo>
                  <a:pt x="0" y="79208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  <a:shade val="30000"/>
                  <a:satMod val="115000"/>
                </a:schemeClr>
              </a:gs>
              <a:gs pos="50000">
                <a:schemeClr val="tx2">
                  <a:lumMod val="75000"/>
                  <a:shade val="67500"/>
                  <a:satMod val="115000"/>
                </a:schemeClr>
              </a:gs>
              <a:gs pos="100000">
                <a:schemeClr val="tx2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107504" y="180750"/>
            <a:ext cx="9001000" cy="654513"/>
          </a:xfrm>
          <a:ln>
            <a:miter lim="800000"/>
            <a:headEnd/>
            <a:tailEnd/>
          </a:ln>
          <a:extLst/>
        </p:spPr>
        <p:txBody>
          <a:bodyPr rtlCol="0" anchor="t">
            <a:no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100" b="1" spc="-151" dirty="0" smtClean="0">
                <a:ln w="11430"/>
                <a:solidFill>
                  <a:srgbClr val="F8F8F8"/>
                </a:solidFill>
                <a:latin typeface="Rockwell" panose="02060603020205020403" pitchFamily="18" charset="0"/>
              </a:rPr>
              <a:t>TIN and Natural Neighbor</a:t>
            </a:r>
            <a:endParaRPr lang="en-US" sz="3100" b="1" spc="-151" dirty="0">
              <a:ln w="11430"/>
              <a:solidFill>
                <a:srgbClr val="F8F8F8"/>
              </a:solidFill>
              <a:latin typeface="Rockwell" panose="02060603020205020403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640" y="917765"/>
            <a:ext cx="6754886" cy="590907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168" y="4117918"/>
            <a:ext cx="3059832" cy="270892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0" y="4221089"/>
            <a:ext cx="3611647" cy="260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679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 advTm="2968">
        <p:fade/>
      </p:transition>
    </mc:Choice>
    <mc:Fallback xmlns="">
      <p:transition advClick="0" advTm="296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48"/>
          <p:cNvGrpSpPr>
            <a:grpSpLocks/>
          </p:cNvGrpSpPr>
          <p:nvPr/>
        </p:nvGrpSpPr>
        <p:grpSpPr bwMode="auto">
          <a:xfrm>
            <a:off x="0" y="-14288"/>
            <a:ext cx="9144000" cy="6872288"/>
            <a:chOff x="0" y="-14263"/>
            <a:chExt cx="9144000" cy="6872263"/>
          </a:xfrm>
        </p:grpSpPr>
        <p:sp>
          <p:nvSpPr>
            <p:cNvPr id="50" name="Rectangle 49"/>
            <p:cNvSpPr/>
            <p:nvPr/>
          </p:nvSpPr>
          <p:spPr>
            <a:xfrm>
              <a:off x="0" y="-14263"/>
              <a:ext cx="9144000" cy="687226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0" y="68239"/>
              <a:ext cx="9144000" cy="6789761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95000"/>
                    <a:lumOff val="5000"/>
                  </a:schemeClr>
                </a:gs>
                <a:gs pos="0">
                  <a:schemeClr val="tx1">
                    <a:lumMod val="65000"/>
                    <a:lumOff val="3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glow>
                <a:schemeClr val="tx1">
                  <a:alpha val="0"/>
                </a:schemeClr>
              </a:glow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5" name="Rectangle 24"/>
          <p:cNvSpPr/>
          <p:nvPr/>
        </p:nvSpPr>
        <p:spPr>
          <a:xfrm>
            <a:off x="233011" y="620692"/>
            <a:ext cx="8677989" cy="5876781"/>
          </a:xfrm>
          <a:prstGeom prst="rect">
            <a:avLst/>
          </a:prstGeom>
          <a:solidFill>
            <a:schemeClr val="tx1">
              <a:alpha val="21961"/>
            </a:schemeClr>
          </a:solidFill>
          <a:ln>
            <a:noFill/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0" y="-14288"/>
            <a:ext cx="9144000" cy="6872289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87000"/>
                </a:schemeClr>
              </a:gs>
              <a:gs pos="13000">
                <a:schemeClr val="bg1"/>
              </a:gs>
            </a:gsLst>
            <a:lin ang="5400000" scaled="1"/>
            <a:tileRect/>
          </a:gradFill>
          <a:ln w="12700">
            <a:solidFill>
              <a:schemeClr val="bg1">
                <a:lumMod val="65000"/>
              </a:schemeClr>
            </a:solidFill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Freeform 15"/>
          <p:cNvSpPr/>
          <p:nvPr/>
        </p:nvSpPr>
        <p:spPr>
          <a:xfrm>
            <a:off x="0" y="-14289"/>
            <a:ext cx="9144000" cy="936104"/>
          </a:xfrm>
          <a:custGeom>
            <a:avLst/>
            <a:gdLst>
              <a:gd name="connsiteX0" fmla="*/ 0 w 7435339"/>
              <a:gd name="connsiteY0" fmla="*/ 0 h 792088"/>
              <a:gd name="connsiteX1" fmla="*/ 7435339 w 7435339"/>
              <a:gd name="connsiteY1" fmla="*/ 0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7723371"/>
              <a:gd name="connsiteY0" fmla="*/ 0 h 792088"/>
              <a:gd name="connsiteX1" fmla="*/ 7723371 w 7723371"/>
              <a:gd name="connsiteY1" fmla="*/ 19023 h 792088"/>
              <a:gd name="connsiteX2" fmla="*/ 7435339 w 7723371"/>
              <a:gd name="connsiteY2" fmla="*/ 792088 h 792088"/>
              <a:gd name="connsiteX3" fmla="*/ 0 w 7723371"/>
              <a:gd name="connsiteY3" fmla="*/ 792088 h 792088"/>
              <a:gd name="connsiteX4" fmla="*/ 0 w 7723371"/>
              <a:gd name="connsiteY4" fmla="*/ 0 h 792088"/>
              <a:gd name="connsiteX0" fmla="*/ 0 w 7435339"/>
              <a:gd name="connsiteY0" fmla="*/ 0 h 792088"/>
              <a:gd name="connsiteX1" fmla="*/ 6701228 w 7435339"/>
              <a:gd name="connsiteY1" fmla="*/ 19023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6723847"/>
              <a:gd name="connsiteY0" fmla="*/ 0 h 792088"/>
              <a:gd name="connsiteX1" fmla="*/ 6701228 w 6723847"/>
              <a:gd name="connsiteY1" fmla="*/ 19023 h 792088"/>
              <a:gd name="connsiteX2" fmla="*/ 6723847 w 6723847"/>
              <a:gd name="connsiteY2" fmla="*/ 792088 h 792088"/>
              <a:gd name="connsiteX3" fmla="*/ 0 w 6723847"/>
              <a:gd name="connsiteY3" fmla="*/ 792088 h 792088"/>
              <a:gd name="connsiteX4" fmla="*/ 0 w 6723847"/>
              <a:gd name="connsiteY4" fmla="*/ 0 h 792088"/>
              <a:gd name="connsiteX0" fmla="*/ 0 w 6731291"/>
              <a:gd name="connsiteY0" fmla="*/ 0 h 792088"/>
              <a:gd name="connsiteX1" fmla="*/ 6731291 w 6731291"/>
              <a:gd name="connsiteY1" fmla="*/ 19023 h 792088"/>
              <a:gd name="connsiteX2" fmla="*/ 6723847 w 6731291"/>
              <a:gd name="connsiteY2" fmla="*/ 792088 h 792088"/>
              <a:gd name="connsiteX3" fmla="*/ 0 w 6731291"/>
              <a:gd name="connsiteY3" fmla="*/ 792088 h 792088"/>
              <a:gd name="connsiteX4" fmla="*/ 0 w 6731291"/>
              <a:gd name="connsiteY4" fmla="*/ 0 h 79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31291" h="792088">
                <a:moveTo>
                  <a:pt x="0" y="0"/>
                </a:moveTo>
                <a:lnTo>
                  <a:pt x="6731291" y="19023"/>
                </a:lnTo>
                <a:cubicBezTo>
                  <a:pt x="6728810" y="276711"/>
                  <a:pt x="6726328" y="534400"/>
                  <a:pt x="6723847" y="792088"/>
                </a:cubicBezTo>
                <a:lnTo>
                  <a:pt x="0" y="79208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  <a:shade val="30000"/>
                  <a:satMod val="115000"/>
                </a:schemeClr>
              </a:gs>
              <a:gs pos="50000">
                <a:schemeClr val="tx2">
                  <a:lumMod val="75000"/>
                  <a:shade val="67500"/>
                  <a:satMod val="115000"/>
                </a:schemeClr>
              </a:gs>
              <a:gs pos="100000">
                <a:schemeClr val="tx2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107504" y="180750"/>
            <a:ext cx="9001000" cy="654513"/>
          </a:xfrm>
          <a:ln>
            <a:miter lim="800000"/>
            <a:headEnd/>
            <a:tailEnd/>
          </a:ln>
          <a:extLst/>
        </p:spPr>
        <p:txBody>
          <a:bodyPr rtlCol="0" anchor="t">
            <a:no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100" b="1" spc="-151" dirty="0">
                <a:ln w="11430"/>
                <a:solidFill>
                  <a:srgbClr val="F8F8F8"/>
                </a:solidFill>
                <a:latin typeface="Rockwell" panose="02060603020205020403" pitchFamily="18" charset="0"/>
              </a:rPr>
              <a:t>Weighted </a:t>
            </a:r>
            <a:r>
              <a:rPr lang="en-US" sz="3100" b="1" spc="-151" dirty="0" smtClean="0">
                <a:ln w="11430"/>
                <a:solidFill>
                  <a:srgbClr val="F8F8F8"/>
                </a:solidFill>
                <a:latin typeface="Rockwell" panose="02060603020205020403" pitchFamily="18" charset="0"/>
              </a:rPr>
              <a:t>Average</a:t>
            </a:r>
            <a:endParaRPr lang="en-US" sz="3100" b="1" spc="-151" dirty="0">
              <a:ln w="11430"/>
              <a:solidFill>
                <a:srgbClr val="F8F8F8"/>
              </a:solidFill>
              <a:latin typeface="Rockwell" panose="02060603020205020403" pitchFamily="18" charset="0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1223628" y="917765"/>
            <a:ext cx="6768752" cy="5921202"/>
            <a:chOff x="1223628" y="917765"/>
            <a:chExt cx="6768752" cy="5921202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23628" y="917765"/>
              <a:ext cx="6768752" cy="5921202"/>
            </a:xfrm>
            <a:prstGeom prst="rect">
              <a:avLst/>
            </a:prstGeom>
          </p:spPr>
        </p:pic>
        <p:cxnSp>
          <p:nvCxnSpPr>
            <p:cNvPr id="3" name="Straight Arrow Connector 2"/>
            <p:cNvCxnSpPr/>
            <p:nvPr/>
          </p:nvCxnSpPr>
          <p:spPr>
            <a:xfrm flipV="1">
              <a:off x="4499992" y="3140968"/>
              <a:ext cx="72008" cy="432048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/>
            <p:nvPr/>
          </p:nvCxnSpPr>
          <p:spPr>
            <a:xfrm>
              <a:off x="4499992" y="3559082"/>
              <a:ext cx="108012" cy="319284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4499992" y="3573016"/>
              <a:ext cx="936104" cy="216024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4499992" y="3573015"/>
              <a:ext cx="54006" cy="1119507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 flipH="1">
              <a:off x="3779912" y="3573015"/>
              <a:ext cx="720080" cy="1065442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/>
            <p:cNvCxnSpPr/>
            <p:nvPr/>
          </p:nvCxnSpPr>
          <p:spPr>
            <a:xfrm flipH="1">
              <a:off x="3761910" y="3569657"/>
              <a:ext cx="746122" cy="291391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H="1" flipV="1">
              <a:off x="3761910" y="3086903"/>
              <a:ext cx="765085" cy="517554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/>
              <p:cNvSpPr txBox="1"/>
              <p:nvPr/>
            </p:nvSpPr>
            <p:spPr>
              <a:xfrm>
                <a:off x="1403648" y="1042941"/>
                <a:ext cx="3149195" cy="640945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𝑧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</m:d>
                      <m:r>
                        <a:rPr lang="en-US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9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𝑧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nary>
                        </m:num>
                        <m:den>
                          <m:nary>
                            <m:naryPr>
                              <m:chr m:val="∑"/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m:rPr>
                                  <m:brk m:alnAt="23"/>
                                </m:r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9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nary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;   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sSubSup>
                            <m:sSub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9" name="TextBox 2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3648" y="1042941"/>
                <a:ext cx="3149195" cy="640945"/>
              </a:xfrm>
              <a:prstGeom prst="rect">
                <a:avLst/>
              </a:prstGeom>
              <a:blipFill rotWithShape="0">
                <a:blip r:embed="rId4"/>
                <a:stretch>
                  <a:fillRect b="-9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" name="Straight Arrow Connector 33"/>
          <p:cNvCxnSpPr/>
          <p:nvPr/>
        </p:nvCxnSpPr>
        <p:spPr>
          <a:xfrm flipV="1">
            <a:off x="4499992" y="3086904"/>
            <a:ext cx="990617" cy="50544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4526995" y="3590842"/>
            <a:ext cx="909101" cy="110168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9306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 advTm="2968">
        <p:fade/>
      </p:transition>
    </mc:Choice>
    <mc:Fallback xmlns="">
      <p:transition advClick="0" advTm="296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48"/>
          <p:cNvGrpSpPr>
            <a:grpSpLocks/>
          </p:cNvGrpSpPr>
          <p:nvPr/>
        </p:nvGrpSpPr>
        <p:grpSpPr bwMode="auto">
          <a:xfrm>
            <a:off x="0" y="-14288"/>
            <a:ext cx="9144000" cy="6872288"/>
            <a:chOff x="0" y="-14263"/>
            <a:chExt cx="9144000" cy="6872263"/>
          </a:xfrm>
        </p:grpSpPr>
        <p:sp>
          <p:nvSpPr>
            <p:cNvPr id="50" name="Rectangle 49"/>
            <p:cNvSpPr/>
            <p:nvPr/>
          </p:nvSpPr>
          <p:spPr>
            <a:xfrm>
              <a:off x="0" y="-14263"/>
              <a:ext cx="9144000" cy="687226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0" y="68239"/>
              <a:ext cx="9144000" cy="6789761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95000"/>
                    <a:lumOff val="5000"/>
                  </a:schemeClr>
                </a:gs>
                <a:gs pos="0">
                  <a:schemeClr val="tx1">
                    <a:lumMod val="65000"/>
                    <a:lumOff val="3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glow>
                <a:schemeClr val="tx1">
                  <a:alpha val="0"/>
                </a:schemeClr>
              </a:glow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5" name="Rectangle 24"/>
          <p:cNvSpPr/>
          <p:nvPr/>
        </p:nvSpPr>
        <p:spPr>
          <a:xfrm>
            <a:off x="233011" y="620692"/>
            <a:ext cx="8677989" cy="5876781"/>
          </a:xfrm>
          <a:prstGeom prst="rect">
            <a:avLst/>
          </a:prstGeom>
          <a:solidFill>
            <a:schemeClr val="tx1">
              <a:alpha val="21961"/>
            </a:schemeClr>
          </a:solidFill>
          <a:ln>
            <a:noFill/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0" y="-14288"/>
            <a:ext cx="9144000" cy="6872289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87000"/>
                </a:schemeClr>
              </a:gs>
              <a:gs pos="13000">
                <a:schemeClr val="bg1"/>
              </a:gs>
            </a:gsLst>
            <a:lin ang="5400000" scaled="1"/>
            <a:tileRect/>
          </a:gradFill>
          <a:ln w="12700">
            <a:solidFill>
              <a:schemeClr val="bg1">
                <a:lumMod val="65000"/>
              </a:schemeClr>
            </a:solidFill>
          </a:ln>
          <a:effectLst>
            <a:outerShdw blurRad="381000" dist="203200" dir="5400000" sx="102000" sy="102000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Freeform 15"/>
          <p:cNvSpPr/>
          <p:nvPr/>
        </p:nvSpPr>
        <p:spPr>
          <a:xfrm>
            <a:off x="0" y="-14289"/>
            <a:ext cx="9144000" cy="936104"/>
          </a:xfrm>
          <a:custGeom>
            <a:avLst/>
            <a:gdLst>
              <a:gd name="connsiteX0" fmla="*/ 0 w 7435339"/>
              <a:gd name="connsiteY0" fmla="*/ 0 h 792088"/>
              <a:gd name="connsiteX1" fmla="*/ 7435339 w 7435339"/>
              <a:gd name="connsiteY1" fmla="*/ 0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7723371"/>
              <a:gd name="connsiteY0" fmla="*/ 0 h 792088"/>
              <a:gd name="connsiteX1" fmla="*/ 7723371 w 7723371"/>
              <a:gd name="connsiteY1" fmla="*/ 19023 h 792088"/>
              <a:gd name="connsiteX2" fmla="*/ 7435339 w 7723371"/>
              <a:gd name="connsiteY2" fmla="*/ 792088 h 792088"/>
              <a:gd name="connsiteX3" fmla="*/ 0 w 7723371"/>
              <a:gd name="connsiteY3" fmla="*/ 792088 h 792088"/>
              <a:gd name="connsiteX4" fmla="*/ 0 w 7723371"/>
              <a:gd name="connsiteY4" fmla="*/ 0 h 792088"/>
              <a:gd name="connsiteX0" fmla="*/ 0 w 7435339"/>
              <a:gd name="connsiteY0" fmla="*/ 0 h 792088"/>
              <a:gd name="connsiteX1" fmla="*/ 6701228 w 7435339"/>
              <a:gd name="connsiteY1" fmla="*/ 19023 h 792088"/>
              <a:gd name="connsiteX2" fmla="*/ 7435339 w 7435339"/>
              <a:gd name="connsiteY2" fmla="*/ 792088 h 792088"/>
              <a:gd name="connsiteX3" fmla="*/ 0 w 7435339"/>
              <a:gd name="connsiteY3" fmla="*/ 792088 h 792088"/>
              <a:gd name="connsiteX4" fmla="*/ 0 w 7435339"/>
              <a:gd name="connsiteY4" fmla="*/ 0 h 792088"/>
              <a:gd name="connsiteX0" fmla="*/ 0 w 6723847"/>
              <a:gd name="connsiteY0" fmla="*/ 0 h 792088"/>
              <a:gd name="connsiteX1" fmla="*/ 6701228 w 6723847"/>
              <a:gd name="connsiteY1" fmla="*/ 19023 h 792088"/>
              <a:gd name="connsiteX2" fmla="*/ 6723847 w 6723847"/>
              <a:gd name="connsiteY2" fmla="*/ 792088 h 792088"/>
              <a:gd name="connsiteX3" fmla="*/ 0 w 6723847"/>
              <a:gd name="connsiteY3" fmla="*/ 792088 h 792088"/>
              <a:gd name="connsiteX4" fmla="*/ 0 w 6723847"/>
              <a:gd name="connsiteY4" fmla="*/ 0 h 792088"/>
              <a:gd name="connsiteX0" fmla="*/ 0 w 6731291"/>
              <a:gd name="connsiteY0" fmla="*/ 0 h 792088"/>
              <a:gd name="connsiteX1" fmla="*/ 6731291 w 6731291"/>
              <a:gd name="connsiteY1" fmla="*/ 19023 h 792088"/>
              <a:gd name="connsiteX2" fmla="*/ 6723847 w 6731291"/>
              <a:gd name="connsiteY2" fmla="*/ 792088 h 792088"/>
              <a:gd name="connsiteX3" fmla="*/ 0 w 6731291"/>
              <a:gd name="connsiteY3" fmla="*/ 792088 h 792088"/>
              <a:gd name="connsiteX4" fmla="*/ 0 w 6731291"/>
              <a:gd name="connsiteY4" fmla="*/ 0 h 79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31291" h="792088">
                <a:moveTo>
                  <a:pt x="0" y="0"/>
                </a:moveTo>
                <a:lnTo>
                  <a:pt x="6731291" y="19023"/>
                </a:lnTo>
                <a:cubicBezTo>
                  <a:pt x="6728810" y="276711"/>
                  <a:pt x="6726328" y="534400"/>
                  <a:pt x="6723847" y="792088"/>
                </a:cubicBezTo>
                <a:lnTo>
                  <a:pt x="0" y="79208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  <a:shade val="30000"/>
                  <a:satMod val="115000"/>
                </a:schemeClr>
              </a:gs>
              <a:gs pos="50000">
                <a:schemeClr val="tx2">
                  <a:lumMod val="75000"/>
                  <a:shade val="67500"/>
                  <a:satMod val="115000"/>
                </a:schemeClr>
              </a:gs>
              <a:gs pos="100000">
                <a:schemeClr val="tx2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107504" y="180750"/>
            <a:ext cx="9001000" cy="654513"/>
          </a:xfrm>
          <a:ln>
            <a:miter lim="800000"/>
            <a:headEnd/>
            <a:tailEnd/>
          </a:ln>
          <a:extLst/>
        </p:spPr>
        <p:txBody>
          <a:bodyPr rtlCol="0" anchor="t">
            <a:no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100" b="1" spc="-151" dirty="0" smtClean="0">
                <a:ln w="11430"/>
                <a:solidFill>
                  <a:srgbClr val="F8F8F8"/>
                </a:solidFill>
                <a:latin typeface="Rockwell" panose="02060603020205020403" pitchFamily="18" charset="0"/>
              </a:rPr>
              <a:t>Bi-Linear</a:t>
            </a:r>
            <a:endParaRPr lang="en-US" sz="3100" b="1" spc="-151" dirty="0">
              <a:ln w="11430"/>
              <a:solidFill>
                <a:srgbClr val="F8F8F8"/>
              </a:solidFill>
              <a:latin typeface="Rockwell" panose="02060603020205020403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628" y="917765"/>
            <a:ext cx="6768752" cy="5921202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1195078" y="1177091"/>
                <a:ext cx="3600400" cy="369332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𝑧</m:t>
                      </m:r>
                      <m:d>
                        <m:dPr>
                          <m:ctrlPr>
                            <a:rPr lang="pt-BR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</m:d>
                      <m:r>
                        <a:rPr lang="pt-BR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pt-BR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pt-BR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pt-BR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x</m:t>
                      </m:r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pt-BR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y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pt-BR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  <m:r>
                        <a:rPr lang="en-US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x</m:t>
                      </m:r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y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5078" y="1177091"/>
                <a:ext cx="3600400" cy="369332"/>
              </a:xfrm>
              <a:prstGeom prst="rect">
                <a:avLst/>
              </a:prstGeom>
              <a:blipFill rotWithShape="0">
                <a:blip r:embed="rId4"/>
                <a:stretch>
                  <a:fillRect b="-655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80187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 advTm="2968">
        <p:fade/>
      </p:transition>
    </mc:Choice>
    <mc:Fallback xmlns="">
      <p:transition advClick="0" advTm="296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XgU54M3kumbCyD2uI_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Ey4pnGOEqXP52ssObO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QpwHfhlkev97qDDpCT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R18_BO_CT_Template_16x9">
  <a:themeElements>
    <a:clrScheme name="TR17-Blue">
      <a:dk1>
        <a:srgbClr val="505050"/>
      </a:dk1>
      <a:lt1>
        <a:srgbClr val="FFFFFF"/>
      </a:lt1>
      <a:dk2>
        <a:srgbClr val="0072C6"/>
      </a:dk2>
      <a:lt2>
        <a:srgbClr val="6DC2E9"/>
      </a:lt2>
      <a:accent1>
        <a:srgbClr val="002050"/>
      </a:accent1>
      <a:accent2>
        <a:srgbClr val="007233"/>
      </a:accent2>
      <a:accent3>
        <a:srgbClr val="DC3C00"/>
      </a:accent3>
      <a:accent4>
        <a:srgbClr val="442359"/>
      </a:accent4>
      <a:accent5>
        <a:srgbClr val="B4009E"/>
      </a:accent5>
      <a:accent6>
        <a:srgbClr val="FF8C00"/>
      </a:accent6>
      <a:hlink>
        <a:srgbClr val="E2E584"/>
      </a:hlink>
      <a:folHlink>
        <a:srgbClr val="E2E584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18 SDP On The Go v2.potx" id="{20A32943-7460-4CB0-9BFC-95278E1089CE}" vid="{E3EF62E7-E80B-4092-A5D8-974ED0F1F56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0.xml"/></Relationships>
</file>

<file path=customXml/_rels/item1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1.xml"/></Relationships>
</file>

<file path=customXml/_rels/item1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2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.xml"/></Relationships>
</file>

<file path=customXml/_rels/item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.xml"/></Relationships>
</file>

<file path=customXml/_rels/item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.xml"/></Relationships>
</file>

<file path=customXml/_rels/item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.xml"/></Relationships>
</file>

<file path=customXml/_rels/item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.xml"/></Relationships>
</file>

<file path=customXml/_rels/item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.xml"/></Relationships>
</file>

<file path=customXml/_rels/item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.xml"/></Relationships>
</file>

<file path=customXml/_rels/item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.xml"/></Relationships>
</file>

<file path=customXml/_rels/item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.xml"/></Relationships>
</file>

<file path=customXml/_rels/item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.xml"/></Relationships>
</file>

<file path=customXml/_rels/item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.xml"/></Relationships>
</file>

<file path=customXml/_rels/item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.xml"/></Relationships>
</file>

<file path=customXml/_rels/item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.xml"/></Relationships>
</file>

<file path=customXml/_rels/item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.xml"/></Relationships>
</file>

<file path=customXml/_rels/item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.xml"/></Relationships>
</file>

<file path=customXml/_rels/item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.xml"/></Relationships>
</file>

<file path=customXml/_rels/item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.xml"/></Relationships>
</file>

<file path=customXml/_rels/item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.xml"/></Relationships>
</file>

<file path=customXml/_rels/item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.xml"/></Relationships>
</file>

<file path=customXml/_rels/item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.xml"/></Relationships>
</file>

<file path=customXml/_rels/item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_rels/item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.xml"/></Relationships>
</file>

<file path=customXml/_rels/item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.xml"/></Relationships>
</file>

<file path=customXml/_rels/item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.xml"/></Relationships>
</file>

<file path=customXml/_rels/item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.xml"/></Relationships>
</file>

<file path=customXml/_rels/item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.xml"/></Relationships>
</file>

<file path=customXml/_rels/item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.xml"/></Relationships>
</file>

<file path=customXml/_rels/item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.xml"/></Relationships>
</file>

<file path=customXml/_rels/item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.xml"/></Relationships>
</file>

<file path=customXml/_rels/item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.xml"/></Relationships>
</file>

<file path=customXml/_rels/item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.xml"/></Relationships>
</file>

<file path=customXml/item1.xml><?xml version="1.0" encoding="utf-8"?>
<EsriMapsInfo xmlns="ESRI.ArcGIS.Mapping.OfficeIntegration.PowerPointInfo">
  <Version>Version1</Version>
  <RequiresSignIn>False</RequiresSignIn>
</EsriMapsInfo>
</file>

<file path=customXml/item10.xml><?xml version="1.0" encoding="utf-8"?>
<EsriMapsInfo xmlns="ESRI.ArcGIS.Mapping.OfficeIntegration.PowerPointInfo">
  <Version>Version1</Version>
  <RequiresSignIn>False</RequiresSignIn>
</EsriMapsInfo>
</file>

<file path=customXml/item100.xml><?xml version="1.0" encoding="utf-8"?>
<EsriMapsInfo xmlns="ESRI.ArcGIS.Mapping.OfficeIntegration.PowerPointInfo">
  <Version>Version1</Version>
  <RequiresSignIn>False</RequiresSignIn>
</EsriMapsInfo>
</file>

<file path=customXml/item101.xml><?xml version="1.0" encoding="utf-8"?>
<EsriMapsInfo xmlns="ESRI.ArcGIS.Mapping.OfficeIntegration.PowerPointInfo">
  <Version>Version1</Version>
  <RequiresSignIn>False</RequiresSignIn>
</EsriMapsInfo>
</file>

<file path=customXml/item102.xml><?xml version="1.0" encoding="utf-8"?>
<EsriMapsInfo xmlns="ESRI.ArcGIS.Mapping.OfficeIntegration.PowerPointInfo">
  <Version>Version1</Version>
  <RequiresSignIn>False</RequiresSignIn>
</EsriMapsInfo>
</file>

<file path=customXml/item11.xml><?xml version="1.0" encoding="utf-8"?>
<EsriMapsInfo xmlns="ESRI.ArcGIS.Mapping.OfficeIntegration.PowerPointInfo">
  <Version>Version1</Version>
  <RequiresSignIn>False</RequiresSignIn>
</EsriMapsInfo>
</file>

<file path=customXml/item12.xml><?xml version="1.0" encoding="utf-8"?>
<EsriMapsInfo xmlns="ESRI.ArcGIS.Mapping.OfficeIntegration.PowerPointInfo">
  <Version>Version1</Version>
  <RequiresSignIn>False</RequiresSignIn>
</EsriMapsInfo>
</file>

<file path=customXml/item13.xml><?xml version="1.0" encoding="utf-8"?>
<EsriMapsInfo xmlns="ESRI.ArcGIS.Mapping.OfficeIntegration.PowerPointInfo">
  <Version>Version1</Version>
  <RequiresSignIn>False</RequiresSignIn>
</EsriMapsInfo>
</file>

<file path=customXml/item14.xml><?xml version="1.0" encoding="utf-8"?>
<EsriMapsInfo xmlns="ESRI.ArcGIS.Mapping.OfficeIntegration.PowerPointInfo">
  <Version>Version1</Version>
  <RequiresSignIn>False</RequiresSignIn>
</EsriMapsInfo>
</file>

<file path=customXml/item15.xml><?xml version="1.0" encoding="utf-8"?>
<EsriMapsInfo xmlns="ESRI.ArcGIS.Mapping.OfficeIntegration.PowerPointInfo">
  <Version>Version1</Version>
  <RequiresSignIn>False</RequiresSignIn>
</EsriMapsInfo>
</file>

<file path=customXml/item16.xml><?xml version="1.0" encoding="utf-8"?>
<EsriMapsInfo xmlns="ESRI.ArcGIS.Mapping.OfficeIntegration.PowerPointInfo">
  <Version>Version1</Version>
  <RequiresSignIn>False</RequiresSignIn>
</EsriMapsInfo>
</file>

<file path=customXml/item17.xml><?xml version="1.0" encoding="utf-8"?>
<EsriMapsInfo xmlns="ESRI.ArcGIS.Mapping.OfficeIntegration.PowerPointInfo">
  <Version>Version1</Version>
  <RequiresSignIn>False</RequiresSignIn>
</EsriMapsInfo>
</file>

<file path=customXml/item18.xml><?xml version="1.0" encoding="utf-8"?>
<EsriMapsInfo xmlns="ESRI.ArcGIS.Mapping.OfficeIntegration.PowerPointInfo">
  <Version>Version1</Version>
  <RequiresSignIn>False</RequiresSignIn>
</EsriMapsInfo>
</file>

<file path=customXml/item19.xml><?xml version="1.0" encoding="utf-8"?>
<EsriMapsInfo xmlns="ESRI.ArcGIS.Mapping.OfficeIntegration.PowerPointInfo">
  <Version>Version1</Version>
  <RequiresSignIn>False</RequiresSignIn>
</EsriMapsInfo>
</file>

<file path=customXml/item2.xml><?xml version="1.0" encoding="utf-8"?>
<EsriMapsInfo xmlns="ESRI.ArcGIS.Mapping.OfficeIntegration.PowerPointInfo">
  <Version>Version1</Version>
  <RequiresSignIn>False</RequiresSignIn>
</EsriMapsInfo>
</file>

<file path=customXml/item20.xml><?xml version="1.0" encoding="utf-8"?>
<EsriMapsInfo xmlns="ESRI.ArcGIS.Mapping.OfficeIntegration.PowerPointInfo">
  <Version>Version1</Version>
  <RequiresSignIn>False</RequiresSignIn>
</EsriMapsInfo>
</file>

<file path=customXml/item21.xml><?xml version="1.0" encoding="utf-8"?>
<EsriMapsInfo xmlns="ESRI.ArcGIS.Mapping.OfficeIntegration.PowerPointInfo">
  <Version>Version1</Version>
  <RequiresSignIn>False</RequiresSignIn>
</EsriMapsInfo>
</file>

<file path=customXml/item22.xml><?xml version="1.0" encoding="utf-8"?>
<EsriMapsInfo xmlns="ESRI.ArcGIS.Mapping.OfficeIntegration.PowerPointInfo">
  <Version>Version1</Version>
  <RequiresSignIn>False</RequiresSignIn>
</EsriMapsInfo>
</file>

<file path=customXml/item23.xml><?xml version="1.0" encoding="utf-8"?>
<EsriMapsInfo xmlns="ESRI.ArcGIS.Mapping.OfficeIntegration.PowerPointInfo">
  <Version>Version1</Version>
  <RequiresSignIn>False</RequiresSignIn>
</EsriMapsInfo>
</file>

<file path=customXml/item24.xml><?xml version="1.0" encoding="utf-8"?>
<EsriMapsInfo xmlns="ESRI.ArcGIS.Mapping.OfficeIntegration.PowerPointInfo">
  <Version>Version1</Version>
  <RequiresSignIn>False</RequiresSignIn>
</EsriMapsInfo>
</file>

<file path=customXml/item25.xml><?xml version="1.0" encoding="utf-8"?>
<EsriMapsInfo xmlns="ESRI.ArcGIS.Mapping.OfficeIntegration.PowerPointInfo">
  <Version>Version1</Version>
  <RequiresSignIn>False</RequiresSignIn>
</EsriMapsInfo>
</file>

<file path=customXml/item26.xml><?xml version="1.0" encoding="utf-8"?>
<EsriMapsInfo xmlns="ESRI.ArcGIS.Mapping.OfficeIntegration.PowerPointInfo">
  <Version>Version1</Version>
  <RequiresSignIn>False</RequiresSignIn>
</EsriMapsInfo>
</file>

<file path=customXml/item27.xml><?xml version="1.0" encoding="utf-8"?>
<EsriMapsInfo xmlns="ESRI.ArcGIS.Mapping.OfficeIntegration.PowerPointInfo">
  <Version>Version1</Version>
  <RequiresSignIn>False</RequiresSignIn>
</EsriMapsInfo>
</file>

<file path=customXml/item28.xml><?xml version="1.0" encoding="utf-8"?>
<EsriMapsInfo xmlns="ESRI.ArcGIS.Mapping.OfficeIntegration.PowerPointInfo">
  <Version>Version1</Version>
  <RequiresSignIn>False</RequiresSignIn>
</EsriMapsInfo>
</file>

<file path=customXml/item29.xml><?xml version="1.0" encoding="utf-8"?>
<EsriMapsInfo xmlns="ESRI.ArcGIS.Mapping.OfficeIntegration.PowerPointInfo">
  <Version>Version1</Version>
  <RequiresSignIn>False</RequiresSignIn>
</EsriMapsInfo>
</file>

<file path=customXml/item3.xml><?xml version="1.0" encoding="utf-8"?>
<EsriMapsInfo xmlns="ESRI.ArcGIS.Mapping.OfficeIntegration.PowerPointInfo">
  <Version>Version1</Version>
  <RequiresSignIn>False</RequiresSignIn>
</EsriMapsInfo>
</file>

<file path=customXml/item30.xml><?xml version="1.0" encoding="utf-8"?>
<EsriMapsInfo xmlns="ESRI.ArcGIS.Mapping.OfficeIntegration.PowerPointInfo">
  <Version>Version1</Version>
  <RequiresSignIn>False</RequiresSignIn>
</EsriMapsInfo>
</file>

<file path=customXml/item31.xml><?xml version="1.0" encoding="utf-8"?>
<EsriMapsInfo xmlns="ESRI.ArcGIS.Mapping.OfficeIntegration.PowerPointInfo">
  <Version>Version1</Version>
  <RequiresSignIn>False</RequiresSignIn>
</EsriMapsInfo>
</file>

<file path=customXml/item32.xml><?xml version="1.0" encoding="utf-8"?>
<EsriMapsInfo xmlns="ESRI.ArcGIS.Mapping.OfficeIntegration.PowerPointInfo">
  <Version>Version1</Version>
  <RequiresSignIn>False</RequiresSignIn>
</EsriMapsInfo>
</file>

<file path=customXml/item33.xml><?xml version="1.0" encoding="utf-8"?>
<EsriMapsInfo xmlns="ESRI.ArcGIS.Mapping.OfficeIntegration.PowerPointInfo">
  <Version>Version1</Version>
  <RequiresSignIn>False</RequiresSignIn>
</EsriMapsInfo>
</file>

<file path=customXml/item34.xml><?xml version="1.0" encoding="utf-8"?>
<EsriMapsInfo xmlns="ESRI.ArcGIS.Mapping.OfficeIntegration.PowerPointInfo">
  <Version>Version1</Version>
  <RequiresSignIn>False</RequiresSignIn>
</EsriMapsInfo>
</file>

<file path=customXml/item35.xml><?xml version="1.0" encoding="utf-8"?>
<EsriMapsInfo xmlns="ESRI.ArcGIS.Mapping.OfficeIntegration.PowerPointInfo">
  <Version>Version1</Version>
  <RequiresSignIn>False</RequiresSignIn>
</EsriMapsInfo>
</file>

<file path=customXml/item36.xml><?xml version="1.0" encoding="utf-8"?>
<EsriMapsInfo xmlns="ESRI.ArcGIS.Mapping.OfficeIntegration.PowerPointInfo">
  <Version>Version1</Version>
  <RequiresSignIn>False</RequiresSignIn>
</EsriMapsInfo>
</file>

<file path=customXml/item37.xml><?xml version="1.0" encoding="utf-8"?>
<EsriMapsInfo xmlns="ESRI.ArcGIS.Mapping.OfficeIntegration.PowerPointInfo">
  <Version>Version1</Version>
  <RequiresSignIn>False</RequiresSignIn>
</EsriMapsInfo>
</file>

<file path=customXml/item38.xml><?xml version="1.0" encoding="utf-8"?>
<EsriMapsInfo xmlns="ESRI.ArcGIS.Mapping.OfficeIntegration.PowerPointInfo">
  <Version>Version1</Version>
  <RequiresSignIn>False</RequiresSignIn>
</EsriMapsInfo>
</file>

<file path=customXml/item39.xml><?xml version="1.0" encoding="utf-8"?>
<EsriMapsInfo xmlns="ESRI.ArcGIS.Mapping.OfficeIntegration.PowerPointInfo">
  <Version>Version1</Version>
  <RequiresSignIn>False</RequiresSignIn>
</EsriMapsInfo>
</file>

<file path=customXml/item4.xml><?xml version="1.0" encoding="utf-8"?>
<EsriMapsInfo xmlns="ESRI.ArcGIS.Mapping.OfficeIntegration.PowerPointInfo">
  <Version>Version1</Version>
  <RequiresSignIn>False</RequiresSignIn>
</EsriMapsInfo>
</file>

<file path=customXml/item40.xml><?xml version="1.0" encoding="utf-8"?>
<EsriMapsInfo xmlns="ESRI.ArcGIS.Mapping.OfficeIntegration.PowerPointInfo">
  <Version>Version1</Version>
  <RequiresSignIn>False</RequiresSignIn>
</EsriMapsInfo>
</file>

<file path=customXml/item41.xml><?xml version="1.0" encoding="utf-8"?>
<EsriMapsInfo xmlns="ESRI.ArcGIS.Mapping.OfficeIntegration.PowerPointInfo">
  <Version>Version1</Version>
  <RequiresSignIn>False</RequiresSignIn>
</EsriMapsInfo>
</file>

<file path=customXml/item42.xml><?xml version="1.0" encoding="utf-8"?>
<EsriMapsInfo xmlns="ESRI.ArcGIS.Mapping.OfficeIntegration.PowerPointInfo">
  <Version>Version1</Version>
  <RequiresSignIn>False</RequiresSignIn>
</EsriMapsInfo>
</file>

<file path=customXml/item43.xml><?xml version="1.0" encoding="utf-8"?>
<EsriMapsInfo xmlns="ESRI.ArcGIS.Mapping.OfficeIntegration.PowerPointInfo">
  <Version>Version1</Version>
  <RequiresSignIn>False</RequiresSignIn>
</EsriMapsInfo>
</file>

<file path=customXml/item44.xml><?xml version="1.0" encoding="utf-8"?>
<EsriMapsInfo xmlns="ESRI.ArcGIS.Mapping.OfficeIntegration.PowerPointInfo">
  <Version>Version1</Version>
  <RequiresSignIn>False</RequiresSignIn>
</EsriMapsInfo>
</file>

<file path=customXml/item45.xml><?xml version="1.0" encoding="utf-8"?>
<EsriMapsInfo xmlns="ESRI.ArcGIS.Mapping.OfficeIntegration.PowerPointInfo">
  <Version>Version1</Version>
  <RequiresSignIn>False</RequiresSignIn>
</EsriMapsInfo>
</file>

<file path=customXml/item46.xml><?xml version="1.0" encoding="utf-8"?>
<EsriMapsInfo xmlns="ESRI.ArcGIS.Mapping.OfficeIntegration.PowerPointInfo">
  <Version>Version1</Version>
  <RequiresSignIn>False</RequiresSignIn>
</EsriMapsInfo>
</file>

<file path=customXml/item47.xml><?xml version="1.0" encoding="utf-8"?>
<EsriMapsInfo xmlns="ESRI.ArcGIS.Mapping.OfficeIntegration.PowerPointInfo">
  <Version>Version1</Version>
  <RequiresSignIn>False</RequiresSignIn>
</EsriMapsInfo>
</file>

<file path=customXml/item48.xml><?xml version="1.0" encoding="utf-8"?>
<EsriMapsInfo xmlns="ESRI.ArcGIS.Mapping.OfficeIntegration.PowerPointInfo">
  <Version>Version1</Version>
  <RequiresSignIn>False</RequiresSignIn>
</EsriMapsInfo>
</file>

<file path=customXml/item49.xml><?xml version="1.0" encoding="utf-8"?>
<EsriMapsInfo xmlns="ESRI.ArcGIS.Mapping.OfficeIntegration.PowerPointInfo">
  <Version>Version1</Version>
  <RequiresSignIn>False</RequiresSignIn>
</EsriMapsInfo>
</file>

<file path=customXml/item5.xml><?xml version="1.0" encoding="utf-8"?>
<EsriMapsInfo xmlns="ESRI.ArcGIS.Mapping.OfficeIntegration.PowerPointInfo">
  <Version>Version1</Version>
  <RequiresSignIn>False</RequiresSignIn>
</EsriMapsInfo>
</file>

<file path=customXml/item50.xml><?xml version="1.0" encoding="utf-8"?>
<EsriMapsInfo xmlns="ESRI.ArcGIS.Mapping.OfficeIntegration.PowerPointInfo">
  <Version>Version1</Version>
  <RequiresSignIn>False</RequiresSignIn>
</EsriMapsInfo>
</file>

<file path=customXml/item51.xml><?xml version="1.0" encoding="utf-8"?>
<EsriMapsInfo xmlns="ESRI.ArcGIS.Mapping.OfficeIntegration.PowerPointInfo">
  <Version>Version1</Version>
  <RequiresSignIn>False</RequiresSignIn>
</EsriMapsInfo>
</file>

<file path=customXml/item52.xml><?xml version="1.0" encoding="utf-8"?>
<EsriMapsInfo xmlns="ESRI.ArcGIS.Mapping.OfficeIntegration.PowerPointInfo">
  <Version>Version1</Version>
  <RequiresSignIn>False</RequiresSignIn>
</EsriMapsInfo>
</file>

<file path=customXml/item53.xml><?xml version="1.0" encoding="utf-8"?>
<EsriMapsInfo xmlns="ESRI.ArcGIS.Mapping.OfficeIntegration.PowerPointInfo">
  <Version>Version1</Version>
  <RequiresSignIn>False</RequiresSignIn>
</EsriMapsInfo>
</file>

<file path=customXml/item54.xml><?xml version="1.0" encoding="utf-8"?>
<EsriMapsInfo xmlns="ESRI.ArcGIS.Mapping.OfficeIntegration.PowerPointInfo">
  <Version>Version1</Version>
  <RequiresSignIn>False</RequiresSignIn>
</EsriMapsInfo>
</file>

<file path=customXml/item55.xml><?xml version="1.0" encoding="utf-8"?>
<EsriMapsInfo xmlns="ESRI.ArcGIS.Mapping.OfficeIntegration.PowerPointInfo">
  <Version>Version1</Version>
  <RequiresSignIn>False</RequiresSignIn>
</EsriMapsInfo>
</file>

<file path=customXml/item56.xml><?xml version="1.0" encoding="utf-8"?>
<EsriMapsInfo xmlns="ESRI.ArcGIS.Mapping.OfficeIntegration.PowerPointInfo">
  <Version>Version1</Version>
  <RequiresSignIn>False</RequiresSignIn>
</EsriMapsInfo>
</file>

<file path=customXml/item57.xml><?xml version="1.0" encoding="utf-8"?>
<EsriMapsInfo xmlns="ESRI.ArcGIS.Mapping.OfficeIntegration.PowerPointInfo">
  <Version>Version1</Version>
  <RequiresSignIn>False</RequiresSignIn>
</EsriMapsInfo>
</file>

<file path=customXml/item58.xml><?xml version="1.0" encoding="utf-8"?>
<EsriMapsInfo xmlns="ESRI.ArcGIS.Mapping.OfficeIntegration.PowerPointInfo">
  <Version>Version1</Version>
  <RequiresSignIn>False</RequiresSignIn>
</EsriMapsInfo>
</file>

<file path=customXml/item59.xml><?xml version="1.0" encoding="utf-8"?>
<EsriMapsInfo xmlns="ESRI.ArcGIS.Mapping.OfficeIntegration.PowerPointInfo">
  <Version>Version1</Version>
  <RequiresSignIn>False</RequiresSignIn>
</EsriMapsInfo>
</file>

<file path=customXml/item6.xml><?xml version="1.0" encoding="utf-8"?>
<EsriMapsInfo xmlns="ESRI.ArcGIS.Mapping.OfficeIntegration.PowerPointInfo">
  <Version>Version1</Version>
  <RequiresSignIn>False</RequiresSignIn>
</EsriMapsInfo>
</file>

<file path=customXml/item60.xml><?xml version="1.0" encoding="utf-8"?>
<EsriMapsInfo xmlns="ESRI.ArcGIS.Mapping.OfficeIntegration.PowerPointInfo">
  <Version>Version1</Version>
  <RequiresSignIn>False</RequiresSignIn>
</EsriMapsInfo>
</file>

<file path=customXml/item61.xml><?xml version="1.0" encoding="utf-8"?>
<EsriMapsInfo xmlns="ESRI.ArcGIS.Mapping.OfficeIntegration.PowerPointInfo">
  <Version>Version1</Version>
  <RequiresSignIn>False</RequiresSignIn>
</EsriMapsInfo>
</file>

<file path=customXml/item62.xml><?xml version="1.0" encoding="utf-8"?>
<EsriMapsInfo xmlns="ESRI.ArcGIS.Mapping.OfficeIntegration.PowerPointInfo">
  <Version>Version1</Version>
  <RequiresSignIn>False</RequiresSignIn>
</EsriMapsInfo>
</file>

<file path=customXml/item63.xml><?xml version="1.0" encoding="utf-8"?>
<EsriMapsInfo xmlns="ESRI.ArcGIS.Mapping.OfficeIntegration.PowerPointInfo">
  <Version>Version1</Version>
  <RequiresSignIn>False</RequiresSignIn>
</EsriMapsInfo>
</file>

<file path=customXml/item64.xml><?xml version="1.0" encoding="utf-8"?>
<EsriMapsInfo xmlns="ESRI.ArcGIS.Mapping.OfficeIntegration.PowerPointInfo">
  <Version>Version1</Version>
  <RequiresSignIn>False</RequiresSignIn>
</EsriMapsInfo>
</file>

<file path=customXml/item65.xml><?xml version="1.0" encoding="utf-8"?>
<EsriMapsInfo xmlns="ESRI.ArcGIS.Mapping.OfficeIntegration.PowerPointInfo">
  <Version>Version1</Version>
  <RequiresSignIn>False</RequiresSignIn>
</EsriMapsInfo>
</file>

<file path=customXml/item66.xml><?xml version="1.0" encoding="utf-8"?>
<EsriMapsInfo xmlns="ESRI.ArcGIS.Mapping.OfficeIntegration.PowerPointInfo">
  <Version>Version1</Version>
  <RequiresSignIn>False</RequiresSignIn>
</EsriMapsInfo>
</file>

<file path=customXml/item67.xml><?xml version="1.0" encoding="utf-8"?>
<EsriMapsInfo xmlns="ESRI.ArcGIS.Mapping.OfficeIntegration.PowerPointInfo">
  <Version>Version1</Version>
  <RequiresSignIn>False</RequiresSignIn>
</EsriMapsInfo>
</file>

<file path=customXml/item68.xml><?xml version="1.0" encoding="utf-8"?>
<EsriMapsInfo xmlns="ESRI.ArcGIS.Mapping.OfficeIntegration.PowerPointInfo">
  <Version>Version1</Version>
  <RequiresSignIn>False</RequiresSignIn>
</EsriMapsInfo>
</file>

<file path=customXml/item69.xml><?xml version="1.0" encoding="utf-8"?>
<EsriMapsInfo xmlns="ESRI.ArcGIS.Mapping.OfficeIntegration.PowerPointInfo">
  <Version>Version1</Version>
  <RequiresSignIn>False</RequiresSignIn>
</EsriMapsInfo>
</file>

<file path=customXml/item7.xml><?xml version="1.0" encoding="utf-8"?>
<EsriMapsInfo xmlns="ESRI.ArcGIS.Mapping.OfficeIntegration.PowerPointInfo">
  <Version>Version1</Version>
  <RequiresSignIn>False</RequiresSignIn>
</EsriMapsInfo>
</file>

<file path=customXml/item70.xml><?xml version="1.0" encoding="utf-8"?>
<EsriMapsInfo xmlns="ESRI.ArcGIS.Mapping.OfficeIntegration.PowerPointInfo">
  <Version>Version1</Version>
  <RequiresSignIn>False</RequiresSignIn>
</EsriMapsInfo>
</file>

<file path=customXml/item71.xml><?xml version="1.0" encoding="utf-8"?>
<EsriMapsInfo xmlns="ESRI.ArcGIS.Mapping.OfficeIntegration.PowerPointInfo">
  <Version>Version1</Version>
  <RequiresSignIn>False</RequiresSignIn>
</EsriMapsInfo>
</file>

<file path=customXml/item72.xml><?xml version="1.0" encoding="utf-8"?>
<EsriMapsInfo xmlns="ESRI.ArcGIS.Mapping.OfficeIntegration.PowerPointInfo">
  <Version>Version1</Version>
  <RequiresSignIn>False</RequiresSignIn>
</EsriMapsInfo>
</file>

<file path=customXml/item73.xml><?xml version="1.0" encoding="utf-8"?>
<EsriMapsInfo xmlns="ESRI.ArcGIS.Mapping.OfficeIntegration.PowerPointInfo">
  <Version>Version1</Version>
  <RequiresSignIn>False</RequiresSignIn>
</EsriMapsInfo>
</file>

<file path=customXml/item74.xml><?xml version="1.0" encoding="utf-8"?>
<EsriMapsInfo xmlns="ESRI.ArcGIS.Mapping.OfficeIntegration.PowerPointInfo">
  <Version>Version1</Version>
  <RequiresSignIn>False</RequiresSignIn>
</EsriMapsInfo>
</file>

<file path=customXml/item75.xml><?xml version="1.0" encoding="utf-8"?>
<EsriMapsInfo xmlns="ESRI.ArcGIS.Mapping.OfficeIntegration.PowerPointInfo">
  <Version>Version1</Version>
  <RequiresSignIn>False</RequiresSignIn>
</EsriMapsInfo>
</file>

<file path=customXml/item76.xml><?xml version="1.0" encoding="utf-8"?>
<EsriMapsInfo xmlns="ESRI.ArcGIS.Mapping.OfficeIntegration.PowerPointInfo">
  <Version>Version1</Version>
  <RequiresSignIn>False</RequiresSignIn>
</EsriMapsInfo>
</file>

<file path=customXml/item77.xml><?xml version="1.0" encoding="utf-8"?>
<EsriMapsInfo xmlns="ESRI.ArcGIS.Mapping.OfficeIntegration.PowerPointInfo">
  <Version>Version1</Version>
  <RequiresSignIn>False</RequiresSignIn>
</EsriMapsInfo>
</file>

<file path=customXml/item78.xml><?xml version="1.0" encoding="utf-8"?>
<EsriMapsInfo xmlns="ESRI.ArcGIS.Mapping.OfficeIntegration.PowerPointInfo">
  <Version>Version1</Version>
  <RequiresSignIn>False</RequiresSignIn>
</EsriMapsInfo>
</file>

<file path=customXml/item79.xml><?xml version="1.0" encoding="utf-8"?>
<EsriMapsInfo xmlns="ESRI.ArcGIS.Mapping.OfficeIntegration.PowerPointInfo">
  <Version>Version1</Version>
  <RequiresSignIn>False</RequiresSignIn>
</EsriMapsInfo>
</file>

<file path=customXml/item8.xml><?xml version="1.0" encoding="utf-8"?>
<EsriMapsInfo xmlns="ESRI.ArcGIS.Mapping.OfficeIntegration.PowerPointInfo">
  <Version>Version1</Version>
  <RequiresSignIn>False</RequiresSignIn>
</EsriMapsInfo>
</file>

<file path=customXml/item80.xml><?xml version="1.0" encoding="utf-8"?>
<EsriMapsInfo xmlns="ESRI.ArcGIS.Mapping.OfficeIntegration.PowerPointInfo">
  <Version>Version1</Version>
  <RequiresSignIn>False</RequiresSignIn>
</EsriMapsInfo>
</file>

<file path=customXml/item81.xml><?xml version="1.0" encoding="utf-8"?>
<EsriMapsInfo xmlns="ESRI.ArcGIS.Mapping.OfficeIntegration.PowerPointInfo">
  <Version>Version1</Version>
  <RequiresSignIn>False</RequiresSignIn>
</EsriMapsInfo>
</file>

<file path=customXml/item82.xml><?xml version="1.0" encoding="utf-8"?>
<EsriMapsInfo xmlns="ESRI.ArcGIS.Mapping.OfficeIntegration.PowerPointInfo">
  <Version>Version1</Version>
  <RequiresSignIn>False</RequiresSignIn>
</EsriMapsInfo>
</file>

<file path=customXml/item83.xml><?xml version="1.0" encoding="utf-8"?>
<EsriMapsInfo xmlns="ESRI.ArcGIS.Mapping.OfficeIntegration.PowerPointInfo">
  <Version>Version1</Version>
  <RequiresSignIn>False</RequiresSignIn>
</EsriMapsInfo>
</file>

<file path=customXml/item84.xml><?xml version="1.0" encoding="utf-8"?>
<EsriMapsInfo xmlns="ESRI.ArcGIS.Mapping.OfficeIntegration.PowerPointInfo">
  <Version>Version1</Version>
  <RequiresSignIn>False</RequiresSignIn>
</EsriMapsInfo>
</file>

<file path=customXml/item85.xml><?xml version="1.0" encoding="utf-8"?>
<EsriMapsInfo xmlns="ESRI.ArcGIS.Mapping.OfficeIntegration.PowerPointInfo">
  <Version>Version1</Version>
  <RequiresSignIn>False</RequiresSignIn>
</EsriMapsInfo>
</file>

<file path=customXml/item86.xml><?xml version="1.0" encoding="utf-8"?>
<EsriMapsInfo xmlns="ESRI.ArcGIS.Mapping.OfficeIntegration.PowerPointInfo">
  <Version>Version1</Version>
  <RequiresSignIn>False</RequiresSignIn>
</EsriMapsInfo>
</file>

<file path=customXml/item87.xml><?xml version="1.0" encoding="utf-8"?>
<EsriMapsInfo xmlns="ESRI.ArcGIS.Mapping.OfficeIntegration.PowerPointInfo">
  <Version>Version1</Version>
  <RequiresSignIn>False</RequiresSignIn>
</EsriMapsInfo>
</file>

<file path=customXml/item88.xml><?xml version="1.0" encoding="utf-8"?>
<EsriMapsInfo xmlns="ESRI.ArcGIS.Mapping.OfficeIntegration.PowerPointInfo">
  <Version>Version1</Version>
  <RequiresSignIn>False</RequiresSignIn>
</EsriMapsInfo>
</file>

<file path=customXml/item89.xml><?xml version="1.0" encoding="utf-8"?>
<EsriMapsInfo xmlns="ESRI.ArcGIS.Mapping.OfficeIntegration.PowerPointInfo">
  <Version>Version1</Version>
  <RequiresSignIn>False</RequiresSignIn>
</EsriMapsInfo>
</file>

<file path=customXml/item9.xml><?xml version="1.0" encoding="utf-8"?>
<EsriMapsInfo xmlns="ESRI.ArcGIS.Mapping.OfficeIntegration.PowerPointInfo">
  <Version>Version1</Version>
  <RequiresSignIn>False</RequiresSignIn>
</EsriMapsInfo>
</file>

<file path=customXml/item90.xml><?xml version="1.0" encoding="utf-8"?>
<EsriMapsInfo xmlns="ESRI.ArcGIS.Mapping.OfficeIntegration.PowerPointInfo">
  <Version>Version1</Version>
  <RequiresSignIn>False</RequiresSignIn>
</EsriMapsInfo>
</file>

<file path=customXml/item91.xml><?xml version="1.0" encoding="utf-8"?>
<EsriMapsInfo xmlns="ESRI.ArcGIS.Mapping.OfficeIntegration.PowerPointInfo">
  <Version>Version1</Version>
  <RequiresSignIn>False</RequiresSignIn>
</EsriMapsInfo>
</file>

<file path=customXml/item92.xml><?xml version="1.0" encoding="utf-8"?>
<EsriMapsInfo xmlns="ESRI.ArcGIS.Mapping.OfficeIntegration.PowerPointInfo">
  <Version>Version1</Version>
  <RequiresSignIn>False</RequiresSignIn>
</EsriMapsInfo>
</file>

<file path=customXml/item93.xml><?xml version="1.0" encoding="utf-8"?>
<EsriMapsInfo xmlns="ESRI.ArcGIS.Mapping.OfficeIntegration.PowerPointInfo">
  <Version>Version1</Version>
  <RequiresSignIn>False</RequiresSignIn>
</EsriMapsInfo>
</file>

<file path=customXml/item94.xml><?xml version="1.0" encoding="utf-8"?>
<EsriMapsInfo xmlns="ESRI.ArcGIS.Mapping.OfficeIntegration.PowerPointInfo">
  <Version>Version1</Version>
  <RequiresSignIn>False</RequiresSignIn>
</EsriMapsInfo>
</file>

<file path=customXml/item95.xml><?xml version="1.0" encoding="utf-8"?>
<EsriMapsInfo xmlns="ESRI.ArcGIS.Mapping.OfficeIntegration.PowerPointInfo">
  <Version>Version1</Version>
  <RequiresSignIn>False</RequiresSignIn>
</EsriMapsInfo>
</file>

<file path=customXml/item96.xml><?xml version="1.0" encoding="utf-8"?>
<EsriMapsInfo xmlns="ESRI.ArcGIS.Mapping.OfficeIntegration.PowerPointInfo">
  <Version>Version1</Version>
  <RequiresSignIn>False</RequiresSignIn>
</EsriMapsInfo>
</file>

<file path=customXml/item97.xml><?xml version="1.0" encoding="utf-8"?>
<EsriMapsInfo xmlns="ESRI.ArcGIS.Mapping.OfficeIntegration.PowerPointInfo">
  <Version>Version1</Version>
  <RequiresSignIn>False</RequiresSignIn>
</EsriMapsInfo>
</file>

<file path=customXml/item98.xml><?xml version="1.0" encoding="utf-8"?>
<EsriMapsInfo xmlns="ESRI.ArcGIS.Mapping.OfficeIntegration.PowerPointInfo">
  <Version>Version1</Version>
  <RequiresSignIn>False</RequiresSignIn>
</EsriMapsInfo>
</file>

<file path=customXml/item99.xml><?xml version="1.0" encoding="utf-8"?>
<EsriMapsInfo xmlns="ESRI.ArcGIS.Mapping.OfficeIntegration.PowerPointInfo">
  <Version>Version1</Version>
  <RequiresSignIn>False</RequiresSignIn>
</EsriMapsInfo>
</file>

<file path=customXml/itemProps1.xml><?xml version="1.0" encoding="utf-8"?>
<ds:datastoreItem xmlns:ds="http://schemas.openxmlformats.org/officeDocument/2006/customXml" ds:itemID="{2845BBA2-1659-4C3E-8DA6-2A165921C209}">
  <ds:schemaRefs>
    <ds:schemaRef ds:uri="ESRI.ArcGIS.Mapping.OfficeIntegration.PowerPointInfo"/>
  </ds:schemaRefs>
</ds:datastoreItem>
</file>

<file path=customXml/itemProps10.xml><?xml version="1.0" encoding="utf-8"?>
<ds:datastoreItem xmlns:ds="http://schemas.openxmlformats.org/officeDocument/2006/customXml" ds:itemID="{F3C68FEE-EB2C-4D52-8BEC-7684C49884BE}">
  <ds:schemaRefs>
    <ds:schemaRef ds:uri="ESRI.ArcGIS.Mapping.OfficeIntegration.PowerPointInfo"/>
  </ds:schemaRefs>
</ds:datastoreItem>
</file>

<file path=customXml/itemProps100.xml><?xml version="1.0" encoding="utf-8"?>
<ds:datastoreItem xmlns:ds="http://schemas.openxmlformats.org/officeDocument/2006/customXml" ds:itemID="{B35859CF-8667-4E4D-99DF-3EA1ACD948DC}">
  <ds:schemaRefs>
    <ds:schemaRef ds:uri="ESRI.ArcGIS.Mapping.OfficeIntegration.PowerPointInfo"/>
  </ds:schemaRefs>
</ds:datastoreItem>
</file>

<file path=customXml/itemProps101.xml><?xml version="1.0" encoding="utf-8"?>
<ds:datastoreItem xmlns:ds="http://schemas.openxmlformats.org/officeDocument/2006/customXml" ds:itemID="{F7890628-59E2-452C-A55E-FAEEF7EB7569}">
  <ds:schemaRefs>
    <ds:schemaRef ds:uri="ESRI.ArcGIS.Mapping.OfficeIntegration.PowerPointInfo"/>
  </ds:schemaRefs>
</ds:datastoreItem>
</file>

<file path=customXml/itemProps102.xml><?xml version="1.0" encoding="utf-8"?>
<ds:datastoreItem xmlns:ds="http://schemas.openxmlformats.org/officeDocument/2006/customXml" ds:itemID="{6F77E1BC-39AF-43AC-9CAC-BCE7AFD92BFE}">
  <ds:schemaRefs>
    <ds:schemaRef ds:uri="ESRI.ArcGIS.Mapping.OfficeIntegration.PowerPointInfo"/>
  </ds:schemaRefs>
</ds:datastoreItem>
</file>

<file path=customXml/itemProps11.xml><?xml version="1.0" encoding="utf-8"?>
<ds:datastoreItem xmlns:ds="http://schemas.openxmlformats.org/officeDocument/2006/customXml" ds:itemID="{E7092E9D-6DC9-437A-A2F2-1444C5F3D6B6}">
  <ds:schemaRefs>
    <ds:schemaRef ds:uri="ESRI.ArcGIS.Mapping.OfficeIntegration.PowerPointInfo"/>
  </ds:schemaRefs>
</ds:datastoreItem>
</file>

<file path=customXml/itemProps12.xml><?xml version="1.0" encoding="utf-8"?>
<ds:datastoreItem xmlns:ds="http://schemas.openxmlformats.org/officeDocument/2006/customXml" ds:itemID="{82200251-D9E3-471B-842C-D45805A972A0}">
  <ds:schemaRefs>
    <ds:schemaRef ds:uri="ESRI.ArcGIS.Mapping.OfficeIntegration.PowerPointInfo"/>
  </ds:schemaRefs>
</ds:datastoreItem>
</file>

<file path=customXml/itemProps13.xml><?xml version="1.0" encoding="utf-8"?>
<ds:datastoreItem xmlns:ds="http://schemas.openxmlformats.org/officeDocument/2006/customXml" ds:itemID="{E9F0A4F4-02CB-4755-8D19-2BF12260AAB8}">
  <ds:schemaRefs>
    <ds:schemaRef ds:uri="ESRI.ArcGIS.Mapping.OfficeIntegration.PowerPointInfo"/>
  </ds:schemaRefs>
</ds:datastoreItem>
</file>

<file path=customXml/itemProps14.xml><?xml version="1.0" encoding="utf-8"?>
<ds:datastoreItem xmlns:ds="http://schemas.openxmlformats.org/officeDocument/2006/customXml" ds:itemID="{1275F77A-8BCF-4207-A1CE-4AE44146E307}">
  <ds:schemaRefs>
    <ds:schemaRef ds:uri="ESRI.ArcGIS.Mapping.OfficeIntegration.PowerPointInfo"/>
  </ds:schemaRefs>
</ds:datastoreItem>
</file>

<file path=customXml/itemProps15.xml><?xml version="1.0" encoding="utf-8"?>
<ds:datastoreItem xmlns:ds="http://schemas.openxmlformats.org/officeDocument/2006/customXml" ds:itemID="{691EC906-8906-4F0E-986E-80D2359EC9DD}">
  <ds:schemaRefs>
    <ds:schemaRef ds:uri="ESRI.ArcGIS.Mapping.OfficeIntegration.PowerPointInfo"/>
  </ds:schemaRefs>
</ds:datastoreItem>
</file>

<file path=customXml/itemProps16.xml><?xml version="1.0" encoding="utf-8"?>
<ds:datastoreItem xmlns:ds="http://schemas.openxmlformats.org/officeDocument/2006/customXml" ds:itemID="{0E28A9D0-77DC-459C-8DDA-16865E3000D5}">
  <ds:schemaRefs>
    <ds:schemaRef ds:uri="ESRI.ArcGIS.Mapping.OfficeIntegration.PowerPointInfo"/>
  </ds:schemaRefs>
</ds:datastoreItem>
</file>

<file path=customXml/itemProps17.xml><?xml version="1.0" encoding="utf-8"?>
<ds:datastoreItem xmlns:ds="http://schemas.openxmlformats.org/officeDocument/2006/customXml" ds:itemID="{BF777B15-8B0A-4066-958B-91FB3E615511}">
  <ds:schemaRefs>
    <ds:schemaRef ds:uri="ESRI.ArcGIS.Mapping.OfficeIntegration.PowerPointInfo"/>
  </ds:schemaRefs>
</ds:datastoreItem>
</file>

<file path=customXml/itemProps18.xml><?xml version="1.0" encoding="utf-8"?>
<ds:datastoreItem xmlns:ds="http://schemas.openxmlformats.org/officeDocument/2006/customXml" ds:itemID="{21A5C01F-F4BD-479F-A304-BEBC34EBDB97}">
  <ds:schemaRefs>
    <ds:schemaRef ds:uri="ESRI.ArcGIS.Mapping.OfficeIntegration.PowerPointInfo"/>
  </ds:schemaRefs>
</ds:datastoreItem>
</file>

<file path=customXml/itemProps19.xml><?xml version="1.0" encoding="utf-8"?>
<ds:datastoreItem xmlns:ds="http://schemas.openxmlformats.org/officeDocument/2006/customXml" ds:itemID="{BF8339EF-8985-4BEE-A5E3-A515F429895E}">
  <ds:schemaRefs>
    <ds:schemaRef ds:uri="ESRI.ArcGIS.Mapping.OfficeIntegration.PowerPointInfo"/>
  </ds:schemaRefs>
</ds:datastoreItem>
</file>

<file path=customXml/itemProps2.xml><?xml version="1.0" encoding="utf-8"?>
<ds:datastoreItem xmlns:ds="http://schemas.openxmlformats.org/officeDocument/2006/customXml" ds:itemID="{4ABE70CA-58DF-453D-AFCC-3F649AA0190F}">
  <ds:schemaRefs>
    <ds:schemaRef ds:uri="ESRI.ArcGIS.Mapping.OfficeIntegration.PowerPointInfo"/>
  </ds:schemaRefs>
</ds:datastoreItem>
</file>

<file path=customXml/itemProps20.xml><?xml version="1.0" encoding="utf-8"?>
<ds:datastoreItem xmlns:ds="http://schemas.openxmlformats.org/officeDocument/2006/customXml" ds:itemID="{79DDF7BF-056E-4F78-A49D-D325BE1E5569}">
  <ds:schemaRefs>
    <ds:schemaRef ds:uri="ESRI.ArcGIS.Mapping.OfficeIntegration.PowerPointInfo"/>
  </ds:schemaRefs>
</ds:datastoreItem>
</file>

<file path=customXml/itemProps21.xml><?xml version="1.0" encoding="utf-8"?>
<ds:datastoreItem xmlns:ds="http://schemas.openxmlformats.org/officeDocument/2006/customXml" ds:itemID="{10C006A1-DD44-480D-9D11-3934908D6C23}">
  <ds:schemaRefs>
    <ds:schemaRef ds:uri="ESRI.ArcGIS.Mapping.OfficeIntegration.PowerPointInfo"/>
  </ds:schemaRefs>
</ds:datastoreItem>
</file>

<file path=customXml/itemProps22.xml><?xml version="1.0" encoding="utf-8"?>
<ds:datastoreItem xmlns:ds="http://schemas.openxmlformats.org/officeDocument/2006/customXml" ds:itemID="{BEBBF8CB-0507-471E-A91B-2E5159C32E56}">
  <ds:schemaRefs>
    <ds:schemaRef ds:uri="ESRI.ArcGIS.Mapping.OfficeIntegration.PowerPointInfo"/>
  </ds:schemaRefs>
</ds:datastoreItem>
</file>

<file path=customXml/itemProps23.xml><?xml version="1.0" encoding="utf-8"?>
<ds:datastoreItem xmlns:ds="http://schemas.openxmlformats.org/officeDocument/2006/customXml" ds:itemID="{D69C94DC-8D73-46FE-AF95-17CB717D7CC1}">
  <ds:schemaRefs>
    <ds:schemaRef ds:uri="ESRI.ArcGIS.Mapping.OfficeIntegration.PowerPointInfo"/>
  </ds:schemaRefs>
</ds:datastoreItem>
</file>

<file path=customXml/itemProps24.xml><?xml version="1.0" encoding="utf-8"?>
<ds:datastoreItem xmlns:ds="http://schemas.openxmlformats.org/officeDocument/2006/customXml" ds:itemID="{333C972B-3C26-48E8-A5F2-533DD03E7690}">
  <ds:schemaRefs>
    <ds:schemaRef ds:uri="ESRI.ArcGIS.Mapping.OfficeIntegration.PowerPointInfo"/>
  </ds:schemaRefs>
</ds:datastoreItem>
</file>

<file path=customXml/itemProps25.xml><?xml version="1.0" encoding="utf-8"?>
<ds:datastoreItem xmlns:ds="http://schemas.openxmlformats.org/officeDocument/2006/customXml" ds:itemID="{52DC72A5-4376-4D32-BA88-D376EF520D14}">
  <ds:schemaRefs>
    <ds:schemaRef ds:uri="ESRI.ArcGIS.Mapping.OfficeIntegration.PowerPointInfo"/>
  </ds:schemaRefs>
</ds:datastoreItem>
</file>

<file path=customXml/itemProps26.xml><?xml version="1.0" encoding="utf-8"?>
<ds:datastoreItem xmlns:ds="http://schemas.openxmlformats.org/officeDocument/2006/customXml" ds:itemID="{E1D7F03F-7B05-4D3A-B681-4B137906F7F0}">
  <ds:schemaRefs>
    <ds:schemaRef ds:uri="ESRI.ArcGIS.Mapping.OfficeIntegration.PowerPointInfo"/>
  </ds:schemaRefs>
</ds:datastoreItem>
</file>

<file path=customXml/itemProps27.xml><?xml version="1.0" encoding="utf-8"?>
<ds:datastoreItem xmlns:ds="http://schemas.openxmlformats.org/officeDocument/2006/customXml" ds:itemID="{E166D7B2-EF91-4130-8E07-FED55B2ACE70}">
  <ds:schemaRefs>
    <ds:schemaRef ds:uri="ESRI.ArcGIS.Mapping.OfficeIntegration.PowerPointInfo"/>
  </ds:schemaRefs>
</ds:datastoreItem>
</file>

<file path=customXml/itemProps28.xml><?xml version="1.0" encoding="utf-8"?>
<ds:datastoreItem xmlns:ds="http://schemas.openxmlformats.org/officeDocument/2006/customXml" ds:itemID="{3CC67537-527A-4DDA-A6AE-CD1C2D099BE6}">
  <ds:schemaRefs>
    <ds:schemaRef ds:uri="ESRI.ArcGIS.Mapping.OfficeIntegration.PowerPointInfo"/>
  </ds:schemaRefs>
</ds:datastoreItem>
</file>

<file path=customXml/itemProps29.xml><?xml version="1.0" encoding="utf-8"?>
<ds:datastoreItem xmlns:ds="http://schemas.openxmlformats.org/officeDocument/2006/customXml" ds:itemID="{AB9E17AE-28B1-40B9-B897-B57C2D4E9F63}">
  <ds:schemaRefs>
    <ds:schemaRef ds:uri="ESRI.ArcGIS.Mapping.OfficeIntegration.PowerPointInfo"/>
  </ds:schemaRefs>
</ds:datastoreItem>
</file>

<file path=customXml/itemProps3.xml><?xml version="1.0" encoding="utf-8"?>
<ds:datastoreItem xmlns:ds="http://schemas.openxmlformats.org/officeDocument/2006/customXml" ds:itemID="{9914106B-6DF9-4289-AD6D-7AFB0A8613AA}">
  <ds:schemaRefs>
    <ds:schemaRef ds:uri="ESRI.ArcGIS.Mapping.OfficeIntegration.PowerPointInfo"/>
  </ds:schemaRefs>
</ds:datastoreItem>
</file>

<file path=customXml/itemProps30.xml><?xml version="1.0" encoding="utf-8"?>
<ds:datastoreItem xmlns:ds="http://schemas.openxmlformats.org/officeDocument/2006/customXml" ds:itemID="{827AB9E3-E910-4EFC-BBBE-29BEC7EC638B}">
  <ds:schemaRefs>
    <ds:schemaRef ds:uri="ESRI.ArcGIS.Mapping.OfficeIntegration.PowerPointInfo"/>
  </ds:schemaRefs>
</ds:datastoreItem>
</file>

<file path=customXml/itemProps31.xml><?xml version="1.0" encoding="utf-8"?>
<ds:datastoreItem xmlns:ds="http://schemas.openxmlformats.org/officeDocument/2006/customXml" ds:itemID="{86513B08-BB87-4B9B-B945-CC566089AC7E}">
  <ds:schemaRefs>
    <ds:schemaRef ds:uri="ESRI.ArcGIS.Mapping.OfficeIntegration.PowerPointInfo"/>
  </ds:schemaRefs>
</ds:datastoreItem>
</file>

<file path=customXml/itemProps32.xml><?xml version="1.0" encoding="utf-8"?>
<ds:datastoreItem xmlns:ds="http://schemas.openxmlformats.org/officeDocument/2006/customXml" ds:itemID="{734B301A-F9E2-4DA5-A3BD-0FD6C1B5C826}">
  <ds:schemaRefs>
    <ds:schemaRef ds:uri="ESRI.ArcGIS.Mapping.OfficeIntegration.PowerPointInfo"/>
  </ds:schemaRefs>
</ds:datastoreItem>
</file>

<file path=customXml/itemProps33.xml><?xml version="1.0" encoding="utf-8"?>
<ds:datastoreItem xmlns:ds="http://schemas.openxmlformats.org/officeDocument/2006/customXml" ds:itemID="{0F17C514-83D5-4C42-A246-9E47005A84FA}">
  <ds:schemaRefs>
    <ds:schemaRef ds:uri="ESRI.ArcGIS.Mapping.OfficeIntegration.PowerPointInfo"/>
  </ds:schemaRefs>
</ds:datastoreItem>
</file>

<file path=customXml/itemProps34.xml><?xml version="1.0" encoding="utf-8"?>
<ds:datastoreItem xmlns:ds="http://schemas.openxmlformats.org/officeDocument/2006/customXml" ds:itemID="{8C47355B-12E2-4F3F-B8C9-D577A409AB44}">
  <ds:schemaRefs>
    <ds:schemaRef ds:uri="ESRI.ArcGIS.Mapping.OfficeIntegration.PowerPointInfo"/>
  </ds:schemaRefs>
</ds:datastoreItem>
</file>

<file path=customXml/itemProps35.xml><?xml version="1.0" encoding="utf-8"?>
<ds:datastoreItem xmlns:ds="http://schemas.openxmlformats.org/officeDocument/2006/customXml" ds:itemID="{75901F79-1DE3-4938-B1ED-3D4C2C18B5DC}">
  <ds:schemaRefs>
    <ds:schemaRef ds:uri="ESRI.ArcGIS.Mapping.OfficeIntegration.PowerPointInfo"/>
  </ds:schemaRefs>
</ds:datastoreItem>
</file>

<file path=customXml/itemProps36.xml><?xml version="1.0" encoding="utf-8"?>
<ds:datastoreItem xmlns:ds="http://schemas.openxmlformats.org/officeDocument/2006/customXml" ds:itemID="{0D1FFD95-7CB0-4232-8090-544A6351BB21}">
  <ds:schemaRefs>
    <ds:schemaRef ds:uri="ESRI.ArcGIS.Mapping.OfficeIntegration.PowerPointInfo"/>
  </ds:schemaRefs>
</ds:datastoreItem>
</file>

<file path=customXml/itemProps37.xml><?xml version="1.0" encoding="utf-8"?>
<ds:datastoreItem xmlns:ds="http://schemas.openxmlformats.org/officeDocument/2006/customXml" ds:itemID="{28391038-C7CB-41F8-929F-0AEADE44163B}">
  <ds:schemaRefs>
    <ds:schemaRef ds:uri="ESRI.ArcGIS.Mapping.OfficeIntegration.PowerPointInfo"/>
  </ds:schemaRefs>
</ds:datastoreItem>
</file>

<file path=customXml/itemProps38.xml><?xml version="1.0" encoding="utf-8"?>
<ds:datastoreItem xmlns:ds="http://schemas.openxmlformats.org/officeDocument/2006/customXml" ds:itemID="{26E029B6-AF72-4DF8-8083-9628898B359F}">
  <ds:schemaRefs>
    <ds:schemaRef ds:uri="ESRI.ArcGIS.Mapping.OfficeIntegration.PowerPointInfo"/>
  </ds:schemaRefs>
</ds:datastoreItem>
</file>

<file path=customXml/itemProps39.xml><?xml version="1.0" encoding="utf-8"?>
<ds:datastoreItem xmlns:ds="http://schemas.openxmlformats.org/officeDocument/2006/customXml" ds:itemID="{56CC35A6-7D98-4BD0-891C-DE1B28DB553A}">
  <ds:schemaRefs>
    <ds:schemaRef ds:uri="ESRI.ArcGIS.Mapping.OfficeIntegration.PowerPointInfo"/>
  </ds:schemaRefs>
</ds:datastoreItem>
</file>

<file path=customXml/itemProps4.xml><?xml version="1.0" encoding="utf-8"?>
<ds:datastoreItem xmlns:ds="http://schemas.openxmlformats.org/officeDocument/2006/customXml" ds:itemID="{0643677B-C4D3-4CA8-A6AA-D1F9CDE7715F}">
  <ds:schemaRefs>
    <ds:schemaRef ds:uri="ESRI.ArcGIS.Mapping.OfficeIntegration.PowerPointInfo"/>
  </ds:schemaRefs>
</ds:datastoreItem>
</file>

<file path=customXml/itemProps40.xml><?xml version="1.0" encoding="utf-8"?>
<ds:datastoreItem xmlns:ds="http://schemas.openxmlformats.org/officeDocument/2006/customXml" ds:itemID="{16952618-5FEF-4F6E-9620-00E34BD49726}">
  <ds:schemaRefs>
    <ds:schemaRef ds:uri="ESRI.ArcGIS.Mapping.OfficeIntegration.PowerPointInfo"/>
  </ds:schemaRefs>
</ds:datastoreItem>
</file>

<file path=customXml/itemProps41.xml><?xml version="1.0" encoding="utf-8"?>
<ds:datastoreItem xmlns:ds="http://schemas.openxmlformats.org/officeDocument/2006/customXml" ds:itemID="{B78E2DDC-4B14-48C9-AA65-14A77EF35425}">
  <ds:schemaRefs>
    <ds:schemaRef ds:uri="ESRI.ArcGIS.Mapping.OfficeIntegration.PowerPointInfo"/>
  </ds:schemaRefs>
</ds:datastoreItem>
</file>

<file path=customXml/itemProps42.xml><?xml version="1.0" encoding="utf-8"?>
<ds:datastoreItem xmlns:ds="http://schemas.openxmlformats.org/officeDocument/2006/customXml" ds:itemID="{E85099EC-4422-416F-BE22-50EF44654134}">
  <ds:schemaRefs>
    <ds:schemaRef ds:uri="ESRI.ArcGIS.Mapping.OfficeIntegration.PowerPointInfo"/>
  </ds:schemaRefs>
</ds:datastoreItem>
</file>

<file path=customXml/itemProps43.xml><?xml version="1.0" encoding="utf-8"?>
<ds:datastoreItem xmlns:ds="http://schemas.openxmlformats.org/officeDocument/2006/customXml" ds:itemID="{E18183C2-3618-4B5C-A8A4-F76960F8BB7E}">
  <ds:schemaRefs>
    <ds:schemaRef ds:uri="ESRI.ArcGIS.Mapping.OfficeIntegration.PowerPointInfo"/>
  </ds:schemaRefs>
</ds:datastoreItem>
</file>

<file path=customXml/itemProps44.xml><?xml version="1.0" encoding="utf-8"?>
<ds:datastoreItem xmlns:ds="http://schemas.openxmlformats.org/officeDocument/2006/customXml" ds:itemID="{861C8BE8-00FD-4EFE-A691-09F112EC4264}">
  <ds:schemaRefs>
    <ds:schemaRef ds:uri="ESRI.ArcGIS.Mapping.OfficeIntegration.PowerPointInfo"/>
  </ds:schemaRefs>
</ds:datastoreItem>
</file>

<file path=customXml/itemProps45.xml><?xml version="1.0" encoding="utf-8"?>
<ds:datastoreItem xmlns:ds="http://schemas.openxmlformats.org/officeDocument/2006/customXml" ds:itemID="{BBAD5896-CCD0-45BB-8A24-5C77409FDEA4}">
  <ds:schemaRefs>
    <ds:schemaRef ds:uri="ESRI.ArcGIS.Mapping.OfficeIntegration.PowerPointInfo"/>
  </ds:schemaRefs>
</ds:datastoreItem>
</file>

<file path=customXml/itemProps46.xml><?xml version="1.0" encoding="utf-8"?>
<ds:datastoreItem xmlns:ds="http://schemas.openxmlformats.org/officeDocument/2006/customXml" ds:itemID="{7227E42C-BA0B-43DB-B614-CB4520197518}">
  <ds:schemaRefs>
    <ds:schemaRef ds:uri="ESRI.ArcGIS.Mapping.OfficeIntegration.PowerPointInfo"/>
  </ds:schemaRefs>
</ds:datastoreItem>
</file>

<file path=customXml/itemProps47.xml><?xml version="1.0" encoding="utf-8"?>
<ds:datastoreItem xmlns:ds="http://schemas.openxmlformats.org/officeDocument/2006/customXml" ds:itemID="{6122ABC6-BF51-4AF6-AA39-360109AD65FA}">
  <ds:schemaRefs>
    <ds:schemaRef ds:uri="ESRI.ArcGIS.Mapping.OfficeIntegration.PowerPointInfo"/>
  </ds:schemaRefs>
</ds:datastoreItem>
</file>

<file path=customXml/itemProps48.xml><?xml version="1.0" encoding="utf-8"?>
<ds:datastoreItem xmlns:ds="http://schemas.openxmlformats.org/officeDocument/2006/customXml" ds:itemID="{BF598EFB-2A05-461C-B50E-85C75B5FBA77}">
  <ds:schemaRefs>
    <ds:schemaRef ds:uri="ESRI.ArcGIS.Mapping.OfficeIntegration.PowerPointInfo"/>
  </ds:schemaRefs>
</ds:datastoreItem>
</file>

<file path=customXml/itemProps49.xml><?xml version="1.0" encoding="utf-8"?>
<ds:datastoreItem xmlns:ds="http://schemas.openxmlformats.org/officeDocument/2006/customXml" ds:itemID="{AA6EC766-B5CC-4C34-9990-E03403D2F9E3}">
  <ds:schemaRefs>
    <ds:schemaRef ds:uri="ESRI.ArcGIS.Mapping.OfficeIntegration.PowerPointInfo"/>
  </ds:schemaRefs>
</ds:datastoreItem>
</file>

<file path=customXml/itemProps5.xml><?xml version="1.0" encoding="utf-8"?>
<ds:datastoreItem xmlns:ds="http://schemas.openxmlformats.org/officeDocument/2006/customXml" ds:itemID="{082EEF0E-518A-4062-B702-AE95217BF867}">
  <ds:schemaRefs>
    <ds:schemaRef ds:uri="ESRI.ArcGIS.Mapping.OfficeIntegration.PowerPointInfo"/>
  </ds:schemaRefs>
</ds:datastoreItem>
</file>

<file path=customXml/itemProps50.xml><?xml version="1.0" encoding="utf-8"?>
<ds:datastoreItem xmlns:ds="http://schemas.openxmlformats.org/officeDocument/2006/customXml" ds:itemID="{00CF3007-5B85-4654-A489-A5FAA6EE2D5B}">
  <ds:schemaRefs>
    <ds:schemaRef ds:uri="ESRI.ArcGIS.Mapping.OfficeIntegration.PowerPointInfo"/>
  </ds:schemaRefs>
</ds:datastoreItem>
</file>

<file path=customXml/itemProps51.xml><?xml version="1.0" encoding="utf-8"?>
<ds:datastoreItem xmlns:ds="http://schemas.openxmlformats.org/officeDocument/2006/customXml" ds:itemID="{1CCBFB61-CDE3-43A2-A1AF-1EB1427FA100}">
  <ds:schemaRefs>
    <ds:schemaRef ds:uri="ESRI.ArcGIS.Mapping.OfficeIntegration.PowerPointInfo"/>
  </ds:schemaRefs>
</ds:datastoreItem>
</file>

<file path=customXml/itemProps52.xml><?xml version="1.0" encoding="utf-8"?>
<ds:datastoreItem xmlns:ds="http://schemas.openxmlformats.org/officeDocument/2006/customXml" ds:itemID="{5D580672-A13C-428A-B1F2-0BD9466D901E}">
  <ds:schemaRefs>
    <ds:schemaRef ds:uri="ESRI.ArcGIS.Mapping.OfficeIntegration.PowerPointInfo"/>
  </ds:schemaRefs>
</ds:datastoreItem>
</file>

<file path=customXml/itemProps53.xml><?xml version="1.0" encoding="utf-8"?>
<ds:datastoreItem xmlns:ds="http://schemas.openxmlformats.org/officeDocument/2006/customXml" ds:itemID="{002262CE-D3A4-4571-BBE1-01C7C07B72C6}">
  <ds:schemaRefs>
    <ds:schemaRef ds:uri="ESRI.ArcGIS.Mapping.OfficeIntegration.PowerPointInfo"/>
  </ds:schemaRefs>
</ds:datastoreItem>
</file>

<file path=customXml/itemProps54.xml><?xml version="1.0" encoding="utf-8"?>
<ds:datastoreItem xmlns:ds="http://schemas.openxmlformats.org/officeDocument/2006/customXml" ds:itemID="{B8F602C5-C65E-4B51-B222-E96C8AC7B97C}">
  <ds:schemaRefs>
    <ds:schemaRef ds:uri="ESRI.ArcGIS.Mapping.OfficeIntegration.PowerPointInfo"/>
  </ds:schemaRefs>
</ds:datastoreItem>
</file>

<file path=customXml/itemProps55.xml><?xml version="1.0" encoding="utf-8"?>
<ds:datastoreItem xmlns:ds="http://schemas.openxmlformats.org/officeDocument/2006/customXml" ds:itemID="{EFC9BB68-D421-4B78-8853-C4F112EBE892}">
  <ds:schemaRefs>
    <ds:schemaRef ds:uri="ESRI.ArcGIS.Mapping.OfficeIntegration.PowerPointInfo"/>
  </ds:schemaRefs>
</ds:datastoreItem>
</file>

<file path=customXml/itemProps56.xml><?xml version="1.0" encoding="utf-8"?>
<ds:datastoreItem xmlns:ds="http://schemas.openxmlformats.org/officeDocument/2006/customXml" ds:itemID="{26976F0E-B6DB-4383-8F40-96BA48726101}">
  <ds:schemaRefs>
    <ds:schemaRef ds:uri="ESRI.ArcGIS.Mapping.OfficeIntegration.PowerPointInfo"/>
  </ds:schemaRefs>
</ds:datastoreItem>
</file>

<file path=customXml/itemProps57.xml><?xml version="1.0" encoding="utf-8"?>
<ds:datastoreItem xmlns:ds="http://schemas.openxmlformats.org/officeDocument/2006/customXml" ds:itemID="{E5450596-E7FA-4BCD-9404-A2AD8957CC23}">
  <ds:schemaRefs>
    <ds:schemaRef ds:uri="ESRI.ArcGIS.Mapping.OfficeIntegration.PowerPointInfo"/>
  </ds:schemaRefs>
</ds:datastoreItem>
</file>

<file path=customXml/itemProps58.xml><?xml version="1.0" encoding="utf-8"?>
<ds:datastoreItem xmlns:ds="http://schemas.openxmlformats.org/officeDocument/2006/customXml" ds:itemID="{CAD03595-AB9F-42CF-B7AC-9CC896B0F46A}">
  <ds:schemaRefs>
    <ds:schemaRef ds:uri="ESRI.ArcGIS.Mapping.OfficeIntegration.PowerPointInfo"/>
  </ds:schemaRefs>
</ds:datastoreItem>
</file>

<file path=customXml/itemProps59.xml><?xml version="1.0" encoding="utf-8"?>
<ds:datastoreItem xmlns:ds="http://schemas.openxmlformats.org/officeDocument/2006/customXml" ds:itemID="{E36513E2-0022-4D00-B2EE-7C3C440DB8D4}">
  <ds:schemaRefs>
    <ds:schemaRef ds:uri="ESRI.ArcGIS.Mapping.OfficeIntegration.PowerPointInfo"/>
  </ds:schemaRefs>
</ds:datastoreItem>
</file>

<file path=customXml/itemProps6.xml><?xml version="1.0" encoding="utf-8"?>
<ds:datastoreItem xmlns:ds="http://schemas.openxmlformats.org/officeDocument/2006/customXml" ds:itemID="{3AB85399-BFD1-48A5-8CB7-305216B45FCA}">
  <ds:schemaRefs>
    <ds:schemaRef ds:uri="ESRI.ArcGIS.Mapping.OfficeIntegration.PowerPointInfo"/>
  </ds:schemaRefs>
</ds:datastoreItem>
</file>

<file path=customXml/itemProps60.xml><?xml version="1.0" encoding="utf-8"?>
<ds:datastoreItem xmlns:ds="http://schemas.openxmlformats.org/officeDocument/2006/customXml" ds:itemID="{1E442039-6C1C-4C5E-BC03-CD18B2CC59EF}">
  <ds:schemaRefs>
    <ds:schemaRef ds:uri="ESRI.ArcGIS.Mapping.OfficeIntegration.PowerPointInfo"/>
  </ds:schemaRefs>
</ds:datastoreItem>
</file>

<file path=customXml/itemProps61.xml><?xml version="1.0" encoding="utf-8"?>
<ds:datastoreItem xmlns:ds="http://schemas.openxmlformats.org/officeDocument/2006/customXml" ds:itemID="{33114602-F5C6-4530-93D8-BED26D12E05B}">
  <ds:schemaRefs>
    <ds:schemaRef ds:uri="ESRI.ArcGIS.Mapping.OfficeIntegration.PowerPointInfo"/>
  </ds:schemaRefs>
</ds:datastoreItem>
</file>

<file path=customXml/itemProps62.xml><?xml version="1.0" encoding="utf-8"?>
<ds:datastoreItem xmlns:ds="http://schemas.openxmlformats.org/officeDocument/2006/customXml" ds:itemID="{2A051264-4DE0-49F9-B88B-0FA30AA3CE9F}">
  <ds:schemaRefs>
    <ds:schemaRef ds:uri="ESRI.ArcGIS.Mapping.OfficeIntegration.PowerPointInfo"/>
  </ds:schemaRefs>
</ds:datastoreItem>
</file>

<file path=customXml/itemProps63.xml><?xml version="1.0" encoding="utf-8"?>
<ds:datastoreItem xmlns:ds="http://schemas.openxmlformats.org/officeDocument/2006/customXml" ds:itemID="{AB79790B-B3CA-429B-A6BC-781092422BCD}">
  <ds:schemaRefs>
    <ds:schemaRef ds:uri="ESRI.ArcGIS.Mapping.OfficeIntegration.PowerPointInfo"/>
  </ds:schemaRefs>
</ds:datastoreItem>
</file>

<file path=customXml/itemProps64.xml><?xml version="1.0" encoding="utf-8"?>
<ds:datastoreItem xmlns:ds="http://schemas.openxmlformats.org/officeDocument/2006/customXml" ds:itemID="{403DF811-D45F-4F43-9897-67B589C76824}">
  <ds:schemaRefs>
    <ds:schemaRef ds:uri="ESRI.ArcGIS.Mapping.OfficeIntegration.PowerPointInfo"/>
  </ds:schemaRefs>
</ds:datastoreItem>
</file>

<file path=customXml/itemProps65.xml><?xml version="1.0" encoding="utf-8"?>
<ds:datastoreItem xmlns:ds="http://schemas.openxmlformats.org/officeDocument/2006/customXml" ds:itemID="{DA0CD730-5BC7-47F5-A53A-56BFD4D9B3E4}">
  <ds:schemaRefs>
    <ds:schemaRef ds:uri="ESRI.ArcGIS.Mapping.OfficeIntegration.PowerPointInfo"/>
  </ds:schemaRefs>
</ds:datastoreItem>
</file>

<file path=customXml/itemProps66.xml><?xml version="1.0" encoding="utf-8"?>
<ds:datastoreItem xmlns:ds="http://schemas.openxmlformats.org/officeDocument/2006/customXml" ds:itemID="{1F8C5EFF-FDA0-4517-A29E-50457BE89CA8}">
  <ds:schemaRefs>
    <ds:schemaRef ds:uri="ESRI.ArcGIS.Mapping.OfficeIntegration.PowerPointInfo"/>
  </ds:schemaRefs>
</ds:datastoreItem>
</file>

<file path=customXml/itemProps67.xml><?xml version="1.0" encoding="utf-8"?>
<ds:datastoreItem xmlns:ds="http://schemas.openxmlformats.org/officeDocument/2006/customXml" ds:itemID="{3694C6FE-6FAC-4326-8FD0-6080EAC3FF45}">
  <ds:schemaRefs>
    <ds:schemaRef ds:uri="ESRI.ArcGIS.Mapping.OfficeIntegration.PowerPointInfo"/>
  </ds:schemaRefs>
</ds:datastoreItem>
</file>

<file path=customXml/itemProps68.xml><?xml version="1.0" encoding="utf-8"?>
<ds:datastoreItem xmlns:ds="http://schemas.openxmlformats.org/officeDocument/2006/customXml" ds:itemID="{F0ECA8DA-2515-4814-9B20-8AD8DEF1CF85}">
  <ds:schemaRefs>
    <ds:schemaRef ds:uri="ESRI.ArcGIS.Mapping.OfficeIntegration.PowerPointInfo"/>
  </ds:schemaRefs>
</ds:datastoreItem>
</file>

<file path=customXml/itemProps69.xml><?xml version="1.0" encoding="utf-8"?>
<ds:datastoreItem xmlns:ds="http://schemas.openxmlformats.org/officeDocument/2006/customXml" ds:itemID="{78285FFC-9EAC-413F-B2C8-A03E9A4F4CDA}">
  <ds:schemaRefs>
    <ds:schemaRef ds:uri="ESRI.ArcGIS.Mapping.OfficeIntegration.PowerPointInfo"/>
  </ds:schemaRefs>
</ds:datastoreItem>
</file>

<file path=customXml/itemProps7.xml><?xml version="1.0" encoding="utf-8"?>
<ds:datastoreItem xmlns:ds="http://schemas.openxmlformats.org/officeDocument/2006/customXml" ds:itemID="{6509A98E-4634-4C88-8A2A-1F9BD139821F}">
  <ds:schemaRefs>
    <ds:schemaRef ds:uri="ESRI.ArcGIS.Mapping.OfficeIntegration.PowerPointInfo"/>
  </ds:schemaRefs>
</ds:datastoreItem>
</file>

<file path=customXml/itemProps70.xml><?xml version="1.0" encoding="utf-8"?>
<ds:datastoreItem xmlns:ds="http://schemas.openxmlformats.org/officeDocument/2006/customXml" ds:itemID="{70CB0525-C2BF-4833-A070-9E6B7A731172}">
  <ds:schemaRefs>
    <ds:schemaRef ds:uri="ESRI.ArcGIS.Mapping.OfficeIntegration.PowerPointInfo"/>
  </ds:schemaRefs>
</ds:datastoreItem>
</file>

<file path=customXml/itemProps71.xml><?xml version="1.0" encoding="utf-8"?>
<ds:datastoreItem xmlns:ds="http://schemas.openxmlformats.org/officeDocument/2006/customXml" ds:itemID="{752308AC-2F76-41D7-B198-D3E0FF1DE490}">
  <ds:schemaRefs>
    <ds:schemaRef ds:uri="ESRI.ArcGIS.Mapping.OfficeIntegration.PowerPointInfo"/>
  </ds:schemaRefs>
</ds:datastoreItem>
</file>

<file path=customXml/itemProps72.xml><?xml version="1.0" encoding="utf-8"?>
<ds:datastoreItem xmlns:ds="http://schemas.openxmlformats.org/officeDocument/2006/customXml" ds:itemID="{82F34D89-84CE-426D-AF56-A7CBB09BEA7A}">
  <ds:schemaRefs>
    <ds:schemaRef ds:uri="ESRI.ArcGIS.Mapping.OfficeIntegration.PowerPointInfo"/>
  </ds:schemaRefs>
</ds:datastoreItem>
</file>

<file path=customXml/itemProps73.xml><?xml version="1.0" encoding="utf-8"?>
<ds:datastoreItem xmlns:ds="http://schemas.openxmlformats.org/officeDocument/2006/customXml" ds:itemID="{81FE8CC4-F252-419A-9CDB-6AB0BB7B0EEC}">
  <ds:schemaRefs>
    <ds:schemaRef ds:uri="ESRI.ArcGIS.Mapping.OfficeIntegration.PowerPointInfo"/>
  </ds:schemaRefs>
</ds:datastoreItem>
</file>

<file path=customXml/itemProps74.xml><?xml version="1.0" encoding="utf-8"?>
<ds:datastoreItem xmlns:ds="http://schemas.openxmlformats.org/officeDocument/2006/customXml" ds:itemID="{2BFC3AAD-889D-4DCF-B7FA-2BAF36918B75}">
  <ds:schemaRefs>
    <ds:schemaRef ds:uri="ESRI.ArcGIS.Mapping.OfficeIntegration.PowerPointInfo"/>
  </ds:schemaRefs>
</ds:datastoreItem>
</file>

<file path=customXml/itemProps75.xml><?xml version="1.0" encoding="utf-8"?>
<ds:datastoreItem xmlns:ds="http://schemas.openxmlformats.org/officeDocument/2006/customXml" ds:itemID="{7049BE00-69C1-496E-ABC4-93208259F498}">
  <ds:schemaRefs>
    <ds:schemaRef ds:uri="ESRI.ArcGIS.Mapping.OfficeIntegration.PowerPointInfo"/>
  </ds:schemaRefs>
</ds:datastoreItem>
</file>

<file path=customXml/itemProps76.xml><?xml version="1.0" encoding="utf-8"?>
<ds:datastoreItem xmlns:ds="http://schemas.openxmlformats.org/officeDocument/2006/customXml" ds:itemID="{D990CECE-2C33-4337-AB1E-20EA9BC53164}">
  <ds:schemaRefs>
    <ds:schemaRef ds:uri="ESRI.ArcGIS.Mapping.OfficeIntegration.PowerPointInfo"/>
  </ds:schemaRefs>
</ds:datastoreItem>
</file>

<file path=customXml/itemProps77.xml><?xml version="1.0" encoding="utf-8"?>
<ds:datastoreItem xmlns:ds="http://schemas.openxmlformats.org/officeDocument/2006/customXml" ds:itemID="{AFDB67D5-E57F-4D1E-B714-DAD32649E212}">
  <ds:schemaRefs>
    <ds:schemaRef ds:uri="ESRI.ArcGIS.Mapping.OfficeIntegration.PowerPointInfo"/>
  </ds:schemaRefs>
</ds:datastoreItem>
</file>

<file path=customXml/itemProps78.xml><?xml version="1.0" encoding="utf-8"?>
<ds:datastoreItem xmlns:ds="http://schemas.openxmlformats.org/officeDocument/2006/customXml" ds:itemID="{E36C0013-9BF7-4873-829B-BFC377F0084D}">
  <ds:schemaRefs>
    <ds:schemaRef ds:uri="ESRI.ArcGIS.Mapping.OfficeIntegration.PowerPointInfo"/>
  </ds:schemaRefs>
</ds:datastoreItem>
</file>

<file path=customXml/itemProps79.xml><?xml version="1.0" encoding="utf-8"?>
<ds:datastoreItem xmlns:ds="http://schemas.openxmlformats.org/officeDocument/2006/customXml" ds:itemID="{4120D8FC-1E34-4A5E-9FA7-51813CB316F3}">
  <ds:schemaRefs>
    <ds:schemaRef ds:uri="ESRI.ArcGIS.Mapping.OfficeIntegration.PowerPointInfo"/>
  </ds:schemaRefs>
</ds:datastoreItem>
</file>

<file path=customXml/itemProps8.xml><?xml version="1.0" encoding="utf-8"?>
<ds:datastoreItem xmlns:ds="http://schemas.openxmlformats.org/officeDocument/2006/customXml" ds:itemID="{54E1F5C6-3AD7-405F-B19B-4D53491A1EDE}">
  <ds:schemaRefs>
    <ds:schemaRef ds:uri="ESRI.ArcGIS.Mapping.OfficeIntegration.PowerPointInfo"/>
  </ds:schemaRefs>
</ds:datastoreItem>
</file>

<file path=customXml/itemProps80.xml><?xml version="1.0" encoding="utf-8"?>
<ds:datastoreItem xmlns:ds="http://schemas.openxmlformats.org/officeDocument/2006/customXml" ds:itemID="{3008B09D-EC71-43ED-893A-48C64E0450E7}">
  <ds:schemaRefs>
    <ds:schemaRef ds:uri="ESRI.ArcGIS.Mapping.OfficeIntegration.PowerPointInfo"/>
  </ds:schemaRefs>
</ds:datastoreItem>
</file>

<file path=customXml/itemProps81.xml><?xml version="1.0" encoding="utf-8"?>
<ds:datastoreItem xmlns:ds="http://schemas.openxmlformats.org/officeDocument/2006/customXml" ds:itemID="{6E6E275C-C027-4069-BA30-9919B34E18F5}">
  <ds:schemaRefs>
    <ds:schemaRef ds:uri="ESRI.ArcGIS.Mapping.OfficeIntegration.PowerPointInfo"/>
  </ds:schemaRefs>
</ds:datastoreItem>
</file>

<file path=customXml/itemProps82.xml><?xml version="1.0" encoding="utf-8"?>
<ds:datastoreItem xmlns:ds="http://schemas.openxmlformats.org/officeDocument/2006/customXml" ds:itemID="{B1A0AEA1-0244-45BE-8D5A-A6D01F4BFF67}">
  <ds:schemaRefs>
    <ds:schemaRef ds:uri="ESRI.ArcGIS.Mapping.OfficeIntegration.PowerPointInfo"/>
  </ds:schemaRefs>
</ds:datastoreItem>
</file>

<file path=customXml/itemProps83.xml><?xml version="1.0" encoding="utf-8"?>
<ds:datastoreItem xmlns:ds="http://schemas.openxmlformats.org/officeDocument/2006/customXml" ds:itemID="{140B50F5-7030-4970-8A68-E4D3952B9935}">
  <ds:schemaRefs>
    <ds:schemaRef ds:uri="ESRI.ArcGIS.Mapping.OfficeIntegration.PowerPointInfo"/>
  </ds:schemaRefs>
</ds:datastoreItem>
</file>

<file path=customXml/itemProps84.xml><?xml version="1.0" encoding="utf-8"?>
<ds:datastoreItem xmlns:ds="http://schemas.openxmlformats.org/officeDocument/2006/customXml" ds:itemID="{3092F6B7-1005-4E2C-9804-73D19E9A0757}">
  <ds:schemaRefs>
    <ds:schemaRef ds:uri="ESRI.ArcGIS.Mapping.OfficeIntegration.PowerPointInfo"/>
  </ds:schemaRefs>
</ds:datastoreItem>
</file>

<file path=customXml/itemProps85.xml><?xml version="1.0" encoding="utf-8"?>
<ds:datastoreItem xmlns:ds="http://schemas.openxmlformats.org/officeDocument/2006/customXml" ds:itemID="{74D5588D-2FA9-41B9-8D6B-1A5EF2EFF39A}">
  <ds:schemaRefs>
    <ds:schemaRef ds:uri="ESRI.ArcGIS.Mapping.OfficeIntegration.PowerPointInfo"/>
  </ds:schemaRefs>
</ds:datastoreItem>
</file>

<file path=customXml/itemProps86.xml><?xml version="1.0" encoding="utf-8"?>
<ds:datastoreItem xmlns:ds="http://schemas.openxmlformats.org/officeDocument/2006/customXml" ds:itemID="{D392E722-7CB2-4C1E-918C-3444E705557D}">
  <ds:schemaRefs>
    <ds:schemaRef ds:uri="ESRI.ArcGIS.Mapping.OfficeIntegration.PowerPointInfo"/>
  </ds:schemaRefs>
</ds:datastoreItem>
</file>

<file path=customXml/itemProps87.xml><?xml version="1.0" encoding="utf-8"?>
<ds:datastoreItem xmlns:ds="http://schemas.openxmlformats.org/officeDocument/2006/customXml" ds:itemID="{D6494C48-B662-476A-98EF-ACE3914A118D}">
  <ds:schemaRefs>
    <ds:schemaRef ds:uri="ESRI.ArcGIS.Mapping.OfficeIntegration.PowerPointInfo"/>
  </ds:schemaRefs>
</ds:datastoreItem>
</file>

<file path=customXml/itemProps88.xml><?xml version="1.0" encoding="utf-8"?>
<ds:datastoreItem xmlns:ds="http://schemas.openxmlformats.org/officeDocument/2006/customXml" ds:itemID="{A8873539-BA71-49CF-9FC7-A6BC88632230}">
  <ds:schemaRefs>
    <ds:schemaRef ds:uri="ESRI.ArcGIS.Mapping.OfficeIntegration.PowerPointInfo"/>
  </ds:schemaRefs>
</ds:datastoreItem>
</file>

<file path=customXml/itemProps89.xml><?xml version="1.0" encoding="utf-8"?>
<ds:datastoreItem xmlns:ds="http://schemas.openxmlformats.org/officeDocument/2006/customXml" ds:itemID="{6344432D-CA2D-4C2A-884E-BC37DBDF43F4}">
  <ds:schemaRefs>
    <ds:schemaRef ds:uri="ESRI.ArcGIS.Mapping.OfficeIntegration.PowerPointInfo"/>
  </ds:schemaRefs>
</ds:datastoreItem>
</file>

<file path=customXml/itemProps9.xml><?xml version="1.0" encoding="utf-8"?>
<ds:datastoreItem xmlns:ds="http://schemas.openxmlformats.org/officeDocument/2006/customXml" ds:itemID="{4249C7F5-FE7F-41F8-928F-1F31B1D3B15A}">
  <ds:schemaRefs>
    <ds:schemaRef ds:uri="ESRI.ArcGIS.Mapping.OfficeIntegration.PowerPointInfo"/>
  </ds:schemaRefs>
</ds:datastoreItem>
</file>

<file path=customXml/itemProps90.xml><?xml version="1.0" encoding="utf-8"?>
<ds:datastoreItem xmlns:ds="http://schemas.openxmlformats.org/officeDocument/2006/customXml" ds:itemID="{7C0ACFB3-0E36-4C76-A67C-903BBA10EE06}">
  <ds:schemaRefs>
    <ds:schemaRef ds:uri="ESRI.ArcGIS.Mapping.OfficeIntegration.PowerPointInfo"/>
  </ds:schemaRefs>
</ds:datastoreItem>
</file>

<file path=customXml/itemProps91.xml><?xml version="1.0" encoding="utf-8"?>
<ds:datastoreItem xmlns:ds="http://schemas.openxmlformats.org/officeDocument/2006/customXml" ds:itemID="{302E2662-DAC3-4692-AC25-DD30F9FCCE1E}">
  <ds:schemaRefs>
    <ds:schemaRef ds:uri="ESRI.ArcGIS.Mapping.OfficeIntegration.PowerPointInfo"/>
  </ds:schemaRefs>
</ds:datastoreItem>
</file>

<file path=customXml/itemProps92.xml><?xml version="1.0" encoding="utf-8"?>
<ds:datastoreItem xmlns:ds="http://schemas.openxmlformats.org/officeDocument/2006/customXml" ds:itemID="{CCC29418-F056-4367-A1C3-C6A2E6FEE4FB}">
  <ds:schemaRefs>
    <ds:schemaRef ds:uri="ESRI.ArcGIS.Mapping.OfficeIntegration.PowerPointInfo"/>
  </ds:schemaRefs>
</ds:datastoreItem>
</file>

<file path=customXml/itemProps93.xml><?xml version="1.0" encoding="utf-8"?>
<ds:datastoreItem xmlns:ds="http://schemas.openxmlformats.org/officeDocument/2006/customXml" ds:itemID="{A2F6F1B4-64CE-4086-8F29-29BA34A0F1A6}">
  <ds:schemaRefs>
    <ds:schemaRef ds:uri="ESRI.ArcGIS.Mapping.OfficeIntegration.PowerPointInfo"/>
  </ds:schemaRefs>
</ds:datastoreItem>
</file>

<file path=customXml/itemProps94.xml><?xml version="1.0" encoding="utf-8"?>
<ds:datastoreItem xmlns:ds="http://schemas.openxmlformats.org/officeDocument/2006/customXml" ds:itemID="{B11A33B2-102C-432D-8F46-5F65242940BD}">
  <ds:schemaRefs>
    <ds:schemaRef ds:uri="ESRI.ArcGIS.Mapping.OfficeIntegration.PowerPointInfo"/>
  </ds:schemaRefs>
</ds:datastoreItem>
</file>

<file path=customXml/itemProps95.xml><?xml version="1.0" encoding="utf-8"?>
<ds:datastoreItem xmlns:ds="http://schemas.openxmlformats.org/officeDocument/2006/customXml" ds:itemID="{9AABF2DA-D454-44EE-A577-CD4967E28A66}">
  <ds:schemaRefs>
    <ds:schemaRef ds:uri="ESRI.ArcGIS.Mapping.OfficeIntegration.PowerPointInfo"/>
  </ds:schemaRefs>
</ds:datastoreItem>
</file>

<file path=customXml/itemProps96.xml><?xml version="1.0" encoding="utf-8"?>
<ds:datastoreItem xmlns:ds="http://schemas.openxmlformats.org/officeDocument/2006/customXml" ds:itemID="{E59A3410-6C31-4632-B0AA-631DAC0E939F}">
  <ds:schemaRefs>
    <ds:schemaRef ds:uri="ESRI.ArcGIS.Mapping.OfficeIntegration.PowerPointInfo"/>
  </ds:schemaRefs>
</ds:datastoreItem>
</file>

<file path=customXml/itemProps97.xml><?xml version="1.0" encoding="utf-8"?>
<ds:datastoreItem xmlns:ds="http://schemas.openxmlformats.org/officeDocument/2006/customXml" ds:itemID="{C2AAED23-E3F3-467E-B739-2309D7775CD4}">
  <ds:schemaRefs>
    <ds:schemaRef ds:uri="ESRI.ArcGIS.Mapping.OfficeIntegration.PowerPointInfo"/>
  </ds:schemaRefs>
</ds:datastoreItem>
</file>

<file path=customXml/itemProps98.xml><?xml version="1.0" encoding="utf-8"?>
<ds:datastoreItem xmlns:ds="http://schemas.openxmlformats.org/officeDocument/2006/customXml" ds:itemID="{8E2FDC45-1271-4448-B5D4-98DA9DF07F7B}">
  <ds:schemaRefs>
    <ds:schemaRef ds:uri="ESRI.ArcGIS.Mapping.OfficeIntegration.PowerPointInfo"/>
  </ds:schemaRefs>
</ds:datastoreItem>
</file>

<file path=customXml/itemProps99.xml><?xml version="1.0" encoding="utf-8"?>
<ds:datastoreItem xmlns:ds="http://schemas.openxmlformats.org/officeDocument/2006/customXml" ds:itemID="{238CB5EF-82D4-4083-8834-922079DA10A9}">
  <ds:schemaRefs>
    <ds:schemaRef ds:uri="ESRI.ArcGIS.Mapping.OfficeIntegration.PowerPointInfo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714</TotalTime>
  <Words>149</Words>
  <Application>Microsoft Office PowerPoint</Application>
  <PresentationFormat>On-screen Show (4:3)</PresentationFormat>
  <Paragraphs>147</Paragraphs>
  <Slides>19</Slides>
  <Notes>19</Notes>
  <HiddenSlides>0</HiddenSlides>
  <MMClips>0</MMClips>
  <ScaleCrop>false</ScaleCrop>
  <HeadingPairs>
    <vt:vector size="6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9</vt:i4>
      </vt:variant>
    </vt:vector>
  </HeadingPairs>
  <TitlesOfParts>
    <vt:vector size="35" baseType="lpstr">
      <vt:lpstr>Arial</vt:lpstr>
      <vt:lpstr>Arial Black</vt:lpstr>
      <vt:lpstr>Calibri</vt:lpstr>
      <vt:lpstr>Calibri Light</vt:lpstr>
      <vt:lpstr>Cambria Math</vt:lpstr>
      <vt:lpstr>Charis SIL</vt:lpstr>
      <vt:lpstr>Edwardian Script ITC</vt:lpstr>
      <vt:lpstr>Rockwell</vt:lpstr>
      <vt:lpstr>Segoe Semibold</vt:lpstr>
      <vt:lpstr>Segoe UI</vt:lpstr>
      <vt:lpstr>Segoe UI Light</vt:lpstr>
      <vt:lpstr>Times New Roman</vt:lpstr>
      <vt:lpstr>Wingdings</vt:lpstr>
      <vt:lpstr>Office Theme</vt:lpstr>
      <vt:lpstr>1_Office Theme</vt:lpstr>
      <vt:lpstr>1_TR18_BO_CT_Template_16x9</vt:lpstr>
      <vt:lpstr>PowerPoint Presentation</vt:lpstr>
      <vt:lpstr>Geographic Distance</vt:lpstr>
      <vt:lpstr>Geographic Distance</vt:lpstr>
      <vt:lpstr>Surface-adjusted distance </vt:lpstr>
      <vt:lpstr>Surface-adjusted distance </vt:lpstr>
      <vt:lpstr>Closest</vt:lpstr>
      <vt:lpstr>TIN and Natural Neighbor</vt:lpstr>
      <vt:lpstr>Weighted Average</vt:lpstr>
      <vt:lpstr>Bi-Linear</vt:lpstr>
      <vt:lpstr>Bi-Quadratic</vt:lpstr>
      <vt:lpstr>Bi-Cubic</vt:lpstr>
      <vt:lpstr>Dataset an Study Are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S FOR YOUR ATTEN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User</dc:creator>
  <cp:lastModifiedBy>mehran ghandehari</cp:lastModifiedBy>
  <cp:revision>1804</cp:revision>
  <dcterms:created xsi:type="dcterms:W3CDTF">2010-09-16T04:18:50Z</dcterms:created>
  <dcterms:modified xsi:type="dcterms:W3CDTF">2016-04-24T05:03:52Z</dcterms:modified>
</cp:coreProperties>
</file>